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7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9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0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1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2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4.xml" ContentType="application/vnd.openxmlformats-officedocument.theme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15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1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1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1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062" r:id="rId4"/>
    <p:sldMasterId id="2147486103" r:id="rId5"/>
    <p:sldMasterId id="2147486127" r:id="rId6"/>
    <p:sldMasterId id="2147486142" r:id="rId7"/>
    <p:sldMasterId id="2147486158" r:id="rId8"/>
    <p:sldMasterId id="2147486185" r:id="rId9"/>
    <p:sldMasterId id="2147486228" r:id="rId10"/>
    <p:sldMasterId id="2147486243" r:id="rId11"/>
    <p:sldMasterId id="2147486258" r:id="rId12"/>
    <p:sldMasterId id="2147486273" r:id="rId13"/>
    <p:sldMasterId id="2147486289" r:id="rId14"/>
    <p:sldMasterId id="2147486298" r:id="rId15"/>
    <p:sldMasterId id="2147486311" r:id="rId16"/>
    <p:sldMasterId id="2147486327" r:id="rId17"/>
    <p:sldMasterId id="2147486343" r:id="rId18"/>
    <p:sldMasterId id="2147486362" r:id="rId19"/>
    <p:sldMasterId id="2147486378" r:id="rId20"/>
    <p:sldMasterId id="2147486394" r:id="rId21"/>
  </p:sldMasterIdLst>
  <p:notesMasterIdLst>
    <p:notesMasterId r:id="rId41"/>
  </p:notesMasterIdLst>
  <p:handoutMasterIdLst>
    <p:handoutMasterId r:id="rId42"/>
  </p:handoutMasterIdLst>
  <p:sldIdLst>
    <p:sldId id="3756" r:id="rId22"/>
    <p:sldId id="3688" r:id="rId23"/>
    <p:sldId id="257" r:id="rId24"/>
    <p:sldId id="3853" r:id="rId25"/>
    <p:sldId id="3846" r:id="rId26"/>
    <p:sldId id="3856" r:id="rId27"/>
    <p:sldId id="3855" r:id="rId28"/>
    <p:sldId id="3857" r:id="rId29"/>
    <p:sldId id="3681" r:id="rId30"/>
    <p:sldId id="3665" r:id="rId31"/>
    <p:sldId id="3816" r:id="rId32"/>
    <p:sldId id="3834" r:id="rId33"/>
    <p:sldId id="3748" r:id="rId34"/>
    <p:sldId id="3678" r:id="rId35"/>
    <p:sldId id="3817" r:id="rId36"/>
    <p:sldId id="940" r:id="rId37"/>
    <p:sldId id="3860" r:id="rId38"/>
    <p:sldId id="3861" r:id="rId39"/>
    <p:sldId id="3851" r:id="rId40"/>
  </p:sldIdLst>
  <p:sldSz cx="9144000" cy="5143500" type="screen16x9"/>
  <p:notesSz cx="7010400" cy="9296400"/>
  <p:defaultTextStyle>
    <a:defPPr>
      <a:defRPr lang="fi-FI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38967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77934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16901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55868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1948358" algn="l" defTabSz="77934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338029" algn="l" defTabSz="77934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727701" algn="l" defTabSz="77934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117372" algn="l" defTabSz="77934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7">
          <p15:clr>
            <a:srgbClr val="A4A3A4"/>
          </p15:clr>
        </p15:guide>
        <p15:guide id="2" orient="horz" pos="2865">
          <p15:clr>
            <a:srgbClr val="A4A3A4"/>
          </p15:clr>
        </p15:guide>
        <p15:guide id="3" orient="horz" pos="3239">
          <p15:clr>
            <a:srgbClr val="A4A3A4"/>
          </p15:clr>
        </p15:guide>
        <p15:guide id="4" pos="68">
          <p15:clr>
            <a:srgbClr val="A4A3A4"/>
          </p15:clr>
        </p15:guide>
        <p15:guide id="5" pos="56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C92D"/>
    <a:srgbClr val="CCECCC"/>
    <a:srgbClr val="F0BFE7"/>
    <a:srgbClr val="7FDAEA"/>
    <a:srgbClr val="F3B077"/>
    <a:srgbClr val="F79A3D"/>
    <a:srgbClr val="A5C8ED"/>
    <a:srgbClr val="4D4F53"/>
    <a:srgbClr val="FFE600"/>
    <a:srgbClr val="DC04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B631C1-BC4A-47F5-85AA-2B6B77F5301F}" v="40" dt="2020-10-25T10:29:01.7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Ei tyyliä, ei ruudukko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ematyyli 1 - Korostu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4934" autoAdjust="0"/>
    <p:restoredTop sz="81163" autoAdjust="0"/>
  </p:normalViewPr>
  <p:slideViewPr>
    <p:cSldViewPr>
      <p:cViewPr>
        <p:scale>
          <a:sx n="50" d="100"/>
          <a:sy n="50" d="100"/>
        </p:scale>
        <p:origin x="1769" y="396"/>
      </p:cViewPr>
      <p:guideLst>
        <p:guide orient="horz" pos="617"/>
        <p:guide orient="horz" pos="2865"/>
        <p:guide orient="horz" pos="3239"/>
        <p:guide pos="68"/>
        <p:guide pos="56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103" d="100"/>
          <a:sy n="103" d="100"/>
        </p:scale>
        <p:origin x="-4008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handoutMaster" Target="handoutMasters/handoutMaster1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0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tableStyles" Target="tableStyles.xml"/><Relationship Id="rId20" Type="http://schemas.openxmlformats.org/officeDocument/2006/relationships/slideMaster" Target="slideMasters/slideMaster17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95434-BA4E-914B-B044-4C27F7FD2949}" type="datetime1">
              <a:rPr lang="en-US" smtClean="0"/>
              <a:t>10/25/2020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7F0F3-A1E5-4380-B634-261422AE48C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198291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FC0A7D-D07B-1248-8B72-AE21A56EA04B}" type="datetime1">
              <a:rPr lang="en-US" smtClean="0"/>
              <a:t>10/25/2020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36A07-9C51-40D5-9EDD-0D75448F2C9D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829745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72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343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9015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686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358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8029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701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372" algn="l" defTabSz="77934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36A07-9C51-40D5-9EDD-0D75448F2C9D}" type="slidenum">
              <a:rPr lang="fi-FI" smtClean="0"/>
              <a:pPr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97717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36A07-9C51-40D5-9EDD-0D75448F2C9D}" type="slidenum">
              <a:rPr lang="fi-FI" smtClean="0"/>
              <a:pPr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9575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36A07-9C51-40D5-9EDD-0D75448F2C9D}" type="slidenum">
              <a:rPr lang="fi-FI" smtClean="0"/>
              <a:pPr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74118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36A07-9C51-40D5-9EDD-0D75448F2C9D}" type="slidenum">
              <a:rPr lang="fi-FI" smtClean="0"/>
              <a:pPr/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465186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i="1" kern="1200" dirty="0">
              <a:solidFill>
                <a:schemeClr val="tx1"/>
              </a:solidFill>
              <a:latin typeface="Georgia"/>
              <a:ea typeface="+mn-ea"/>
              <a:cs typeface="+mn-cs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36A07-9C51-40D5-9EDD-0D75448F2C9D}" type="slidenum">
              <a:rPr lang="fi-FI" smtClean="0"/>
              <a:pPr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059624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736A07-9C51-40D5-9EDD-0D75448F2C9D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1619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736A07-9C51-40D5-9EDD-0D75448F2C9D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031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36A07-9C51-40D5-9EDD-0D75448F2C9D}" type="slidenum">
              <a:rPr lang="fi-FI" smtClean="0"/>
              <a:pPr/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5308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.xml"/><Relationship Id="rId7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28.emf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0.png"/><Relationship Id="rId7" Type="http://schemas.openxmlformats.org/officeDocument/2006/relationships/image" Target="../media/image35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1.png"/><Relationship Id="rId9" Type="http://schemas.openxmlformats.org/officeDocument/2006/relationships/image" Target="../media/image37.png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6.png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5.jpe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1.png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10.xml"/><Relationship Id="rId7" Type="http://schemas.openxmlformats.org/officeDocument/2006/relationships/image" Target="../media/image2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7.xml"/><Relationship Id="rId9" Type="http://schemas.openxmlformats.org/officeDocument/2006/relationships/image" Target="../media/image28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4.xml"/><Relationship Id="rId7" Type="http://schemas.openxmlformats.org/officeDocument/2006/relationships/image" Target="../media/image2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8.xml"/><Relationship Id="rId9" Type="http://schemas.openxmlformats.org/officeDocument/2006/relationships/image" Target="../media/image28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9256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42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35" y="3291318"/>
            <a:ext cx="7375072" cy="771525"/>
          </a:xfrm>
        </p:spPr>
        <p:txBody>
          <a:bodyPr/>
          <a:lstStyle>
            <a:lvl1pPr>
              <a:lnSpc>
                <a:spcPct val="100000"/>
              </a:lnSpc>
              <a:defRPr sz="27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97429" y="1219195"/>
            <a:ext cx="1873763" cy="1873763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635119" y="1219195"/>
            <a:ext cx="1873763" cy="1873763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72808" y="1219195"/>
            <a:ext cx="1873763" cy="1873763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1661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175" y="1662314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750372" y="2571750"/>
            <a:ext cx="5393628" cy="2571750"/>
          </a:xfrm>
          <a:custGeom>
            <a:avLst/>
            <a:gdLst>
              <a:gd name="connsiteX0" fmla="*/ 4106744 w 7191504"/>
              <a:gd name="connsiteY0" fmla="*/ 0 h 3429000"/>
              <a:gd name="connsiteX1" fmla="*/ 7058515 w 7191504"/>
              <a:gd name="connsiteY1" fmla="*/ 1222664 h 3429000"/>
              <a:gd name="connsiteX2" fmla="*/ 7191504 w 7191504"/>
              <a:gd name="connsiteY2" fmla="*/ 1368988 h 3429000"/>
              <a:gd name="connsiteX3" fmla="*/ 7191504 w 7191504"/>
              <a:gd name="connsiteY3" fmla="*/ 3429000 h 3429000"/>
              <a:gd name="connsiteX4" fmla="*/ 0 w 7191504"/>
              <a:gd name="connsiteY4" fmla="*/ 3429000 h 3429000"/>
              <a:gd name="connsiteX5" fmla="*/ 17119 w 7191504"/>
              <a:gd name="connsiteY5" fmla="*/ 3333141 h 3429000"/>
              <a:gd name="connsiteX6" fmla="*/ 4106744 w 7191504"/>
              <a:gd name="connsiteY6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91504" h="3429000">
                <a:moveTo>
                  <a:pt x="4106744" y="0"/>
                </a:moveTo>
                <a:cubicBezTo>
                  <a:pt x="5259482" y="0"/>
                  <a:pt x="6303091" y="467240"/>
                  <a:pt x="7058515" y="1222664"/>
                </a:cubicBezTo>
                <a:lnTo>
                  <a:pt x="7191504" y="1368988"/>
                </a:lnTo>
                <a:lnTo>
                  <a:pt x="7191504" y="3429000"/>
                </a:lnTo>
                <a:lnTo>
                  <a:pt x="0" y="3429000"/>
                </a:lnTo>
                <a:lnTo>
                  <a:pt x="17119" y="3333141"/>
                </a:lnTo>
                <a:cubicBezTo>
                  <a:pt x="406370" y="1430921"/>
                  <a:pt x="2089452" y="0"/>
                  <a:pt x="41067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1223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497" y="1673131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572001" y="393402"/>
            <a:ext cx="1292087" cy="129208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1" y="1914928"/>
            <a:ext cx="1292087" cy="129208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4572001" y="3436455"/>
            <a:ext cx="1292087" cy="129208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4721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858618" y="-141633"/>
            <a:ext cx="5426765" cy="5426765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8242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938" y="878377"/>
            <a:ext cx="7375072" cy="771525"/>
          </a:xfrm>
        </p:spPr>
        <p:txBody>
          <a:bodyPr/>
          <a:lstStyle>
            <a:lvl1pPr>
              <a:defRPr sz="24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97428" y="1739129"/>
            <a:ext cx="1704798" cy="170479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719601" y="1739129"/>
            <a:ext cx="1704798" cy="170479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241774" y="1739129"/>
            <a:ext cx="1704798" cy="170479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95440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47168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4601095" cy="51435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542906" y="0"/>
            <a:ext cx="4601095" cy="51435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1329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497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85951" y="-309290"/>
            <a:ext cx="4019549" cy="68710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727" y="1225289"/>
            <a:ext cx="1548673" cy="3157317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276600" y="1628775"/>
            <a:ext cx="1343025" cy="237172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0103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248" y="348989"/>
            <a:ext cx="2186849" cy="4458382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597443" y="908611"/>
            <a:ext cx="1896458" cy="3349064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731043" y="908611"/>
            <a:ext cx="1896458" cy="3349064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439169" y="908611"/>
            <a:ext cx="1896458" cy="3349064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5717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2392" y="-5787404"/>
            <a:ext cx="2201637" cy="16899276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512648" y="1792059"/>
            <a:ext cx="1372281" cy="17145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871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296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7874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699" y="1163270"/>
            <a:ext cx="3892226" cy="3272484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413116" y="1353909"/>
            <a:ext cx="3606934" cy="2027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494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87200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3930" y="958371"/>
            <a:ext cx="5602618" cy="3289527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900054" y="1201510"/>
            <a:ext cx="4231084" cy="265283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AC6E2F5-516F-A44D-B464-9D7A09579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494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135847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2091" y="684979"/>
            <a:ext cx="4007724" cy="5631539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165465" y="1268184"/>
            <a:ext cx="3340235" cy="4456341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3AC0103-C813-EA42-943D-A7EB93549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494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292908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129" y="830150"/>
            <a:ext cx="1806179" cy="36823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071" y="830150"/>
            <a:ext cx="1806179" cy="36823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3012" y="830150"/>
            <a:ext cx="1806179" cy="3682304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824140" y="1287489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768189" y="1287489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7718238" y="1287489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CE815C3-EA89-EF43-83E5-6BC3E05D4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494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74306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7575" y="0"/>
            <a:ext cx="3017950" cy="5143500"/>
          </a:xfrm>
          <a:prstGeom prst="rect">
            <a:avLst/>
          </a:prstGeom>
          <a:solidFill>
            <a:srgbClr val="1E2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6880" y="953720"/>
            <a:ext cx="1806179" cy="368230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062" y="953720"/>
            <a:ext cx="1806179" cy="3682304"/>
          </a:xfrm>
          <a:prstGeom prst="rect">
            <a:avLst/>
          </a:prstGeom>
        </p:spPr>
      </p:pic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-308761" y="1411059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641288" y="1411059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826329" y="878377"/>
            <a:ext cx="4050847" cy="771525"/>
          </a:xfrm>
        </p:spPr>
        <p:txBody>
          <a:bodyPr/>
          <a:lstStyle>
            <a:lvl1pPr>
              <a:lnSpc>
                <a:spcPct val="100000"/>
              </a:lnSpc>
              <a:defRPr sz="24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993865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158464" y="2487523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396714" y="1734908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625439" y="1020394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7855380" y="303836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7469959" y="2932736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4542670" y="-182267"/>
            <a:ext cx="1586060" cy="2789466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1C6300-5826-004E-AE7F-E062A3C4E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494" y="1730275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008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21">
            <a:extLst>
              <a:ext uri="{FF2B5EF4-FFF2-40B4-BE49-F238E27FC236}">
                <a16:creationId xmlns:a16="http://schemas.microsoft.com/office/drawing/2014/main" id="{BD80ABFB-92CE-9A48-ABAC-163856957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9D354AA-690E-A840-BB35-89E92223EF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938" y="878377"/>
            <a:ext cx="7375072" cy="771525"/>
          </a:xfrm>
        </p:spPr>
        <p:txBody>
          <a:bodyPr/>
          <a:lstStyle>
            <a:lvl1pPr>
              <a:defRPr sz="27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54704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11252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34849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01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0171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691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4086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36486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8766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3019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575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8820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2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sz="12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sz="12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sz="12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sz="12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7460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1298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7525654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4808050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831905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4212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481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11902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16466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378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57346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33935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62372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2253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2920893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1550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6158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82676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8645280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38075014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5331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0171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611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185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8538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2271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6424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38934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219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2177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3106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3448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0588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 noProof="0"/>
              <a:t>Muokkaa perustyyl. napsautt.</a:t>
            </a:r>
            <a:endParaRPr lang="en-GB" noProof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109088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817405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2140224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2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2" y="2931791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3" y="4731991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50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093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3" y="2211711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2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2" y="3003278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08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3" y="2931791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86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3" y="2931791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74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591" indent="-176209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75" indent="-176209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6209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15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2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53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8" y="0"/>
            <a:ext cx="3348038" cy="5143500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9" y="411163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5"/>
            <a:ext cx="4823768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98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1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5"/>
            <a:ext cx="4823768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9" y="411163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78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1" y="0"/>
            <a:ext cx="4356100" cy="5143500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1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1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01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1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1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1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7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411511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6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6" y="1924944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6" y="2573016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8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60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90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6449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3" y="411511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6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6" y="1924944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6" y="2573016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8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60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5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90"/>
            <a:ext cx="8208912" cy="3311823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8950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5" y="1131889"/>
            <a:ext cx="8207375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35214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77DC7-912C-433E-8238-1067DAFF09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8A72A-3DC1-499B-960F-DFA3919410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8CE491-EE01-4CB4-89D7-F5598F63C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8700-9B5D-4974-BCC2-794219A05BDA}" type="datetimeFigureOut">
              <a:rPr lang="fi-FI" smtClean="0"/>
              <a:t>25.10.2020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935EE-FC4B-4519-919D-3F6A34AB0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DA7DA-B0FA-46ED-8277-510D9B3BC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3684D-4536-4DA9-B4A7-A9EF6945DE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302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5E1140C-E184-AB44-99DB-B7AE1F075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9415" y="4791675"/>
            <a:ext cx="803364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696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3650" y="546496"/>
            <a:ext cx="6616700" cy="4050509"/>
          </a:xfrm>
          <a:prstGeom prst="rect">
            <a:avLst/>
          </a:prstGeom>
        </p:spPr>
        <p:txBody>
          <a:bodyPr anchor="ctr"/>
          <a:lstStyle>
            <a:lvl1pPr algn="ctr">
              <a:defRPr sz="4500" b="1" i="0">
                <a:solidFill>
                  <a:schemeClr val="bg1"/>
                </a:solidFill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BIG TIT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2779" y="4791051"/>
            <a:ext cx="810000" cy="152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34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3650" y="546496"/>
            <a:ext cx="6616700" cy="4050509"/>
          </a:xfrm>
          <a:prstGeom prst="rect">
            <a:avLst/>
          </a:prstGeom>
        </p:spPr>
        <p:txBody>
          <a:bodyPr anchor="ctr"/>
          <a:lstStyle>
            <a:lvl1pPr algn="ctr">
              <a:defRPr sz="4500" b="1" i="0"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BIG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CE8C09-9B6A-2048-AE65-F3316416C5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9415" y="4791675"/>
            <a:ext cx="803364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223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2779" y="4791051"/>
            <a:ext cx="810000" cy="15244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5CD58F0-EAD2-2E43-B50E-2DBEDC6CAE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2" y="276225"/>
            <a:ext cx="8641557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1800" b="1" i="0" spc="225">
                <a:solidFill>
                  <a:schemeClr val="bg1"/>
                </a:solidFill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SMALL TITLE</a:t>
            </a:r>
          </a:p>
        </p:txBody>
      </p:sp>
    </p:spTree>
    <p:extLst>
      <p:ext uri="{BB962C8B-B14F-4D97-AF65-F5344CB8AC3E}">
        <p14:creationId xmlns:p14="http://schemas.microsoft.com/office/powerpoint/2010/main" val="2622732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1222" y="276225"/>
            <a:ext cx="8641557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1800" b="1" i="0" spc="225"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SMALL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475EDAA-E87C-C547-981C-7EAD199CF2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9415" y="4791675"/>
            <a:ext cx="803364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806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CD3D156-D04D-2B46-AC72-5B8C54B81A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54" y="276225"/>
            <a:ext cx="8505824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00" b="1" i="0" spc="225"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LIST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5E88964-9292-0A43-A5F7-9BD104218C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9415" y="4791675"/>
            <a:ext cx="803364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26392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E91A9CE-E271-F340-BA2B-541499BEBF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3" y="276225"/>
            <a:ext cx="4050506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1800" b="1" i="0" spc="225">
                <a:solidFill>
                  <a:schemeClr val="bg1"/>
                </a:solidFill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DARK SID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C595E1F-EFBA-B44F-A045-1308093F28A7}"/>
              </a:ext>
            </a:extLst>
          </p:cNvPr>
          <p:cNvSpPr txBox="1">
            <a:spLocks/>
          </p:cNvSpPr>
          <p:nvPr/>
        </p:nvSpPr>
        <p:spPr>
          <a:xfrm>
            <a:off x="4842115" y="276225"/>
            <a:ext cx="4050506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spc="300">
                <a:solidFill>
                  <a:schemeClr val="bg1"/>
                </a:solidFill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 sz="1800">
                <a:solidFill>
                  <a:schemeClr val="tx1"/>
                </a:solidFill>
              </a:rPr>
              <a:t>LIGHT SID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5BCA3F-6560-4849-93DF-AAA2DDA60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9415" y="4791675"/>
            <a:ext cx="803364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44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201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15F25EB-FE1B-5F45-B19D-3904B5DCA9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3" y="276225"/>
            <a:ext cx="4050506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00" b="1" i="0" spc="225">
                <a:solidFill>
                  <a:schemeClr val="bg1"/>
                </a:solidFill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DARK SID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3F399A5-6389-6142-B310-69409678ACDC}"/>
              </a:ext>
            </a:extLst>
          </p:cNvPr>
          <p:cNvSpPr txBox="1">
            <a:spLocks/>
          </p:cNvSpPr>
          <p:nvPr/>
        </p:nvSpPr>
        <p:spPr>
          <a:xfrm>
            <a:off x="251223" y="2849392"/>
            <a:ext cx="4050506" cy="270272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spc="300">
                <a:solidFill>
                  <a:schemeClr val="bg1"/>
                </a:solidFill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 sz="1800">
                <a:solidFill>
                  <a:schemeClr val="tx1"/>
                </a:solidFill>
              </a:rPr>
              <a:t>LIGHT SI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B4803A-A564-9049-9D7F-7763FC429C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9415" y="4791675"/>
            <a:ext cx="803364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243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201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0116" y="3069179"/>
            <a:ext cx="4861145" cy="744931"/>
          </a:xfrm>
        </p:spPr>
        <p:txBody>
          <a:bodyPr>
            <a:normAutofit/>
          </a:bodyPr>
          <a:lstStyle>
            <a:lvl1pPr>
              <a:defRPr sz="2400" b="1" i="0">
                <a:latin typeface="Rational TW Display SemiBold" panose="02010009030000000000" pitchFamily="49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20116" y="3816214"/>
            <a:ext cx="4031192" cy="397933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sub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3AFC5-4290-E644-978D-4E5ADF2564A1}" type="datetimeFigureOut">
              <a:rPr lang="en-US" smtClean="0"/>
              <a:t>10/25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62AF9-5995-8B4D-99C6-8C7D3D3BBE5C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84841" y="179283"/>
            <a:ext cx="1366824" cy="4735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5925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7227" y="52915"/>
            <a:ext cx="5769545" cy="719271"/>
          </a:xfrm>
        </p:spPr>
        <p:txBody>
          <a:bodyPr>
            <a:noAutofit/>
          </a:bodyPr>
          <a:lstStyle>
            <a:lvl1pPr>
              <a:defRPr sz="2000" b="1" i="0">
                <a:solidFill>
                  <a:srgbClr val="74CA2D"/>
                </a:solidFill>
                <a:latin typeface="Rational TW Display Book" panose="02010009030000000000" pitchFamily="49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3AFC5-4290-E644-978D-4E5ADF2564A1}" type="datetimeFigureOut">
              <a:rPr lang="en-US" smtClean="0"/>
              <a:t>10/25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62AF9-5995-8B4D-99C6-8C7D3D3BBE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84868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42117" y="2971800"/>
            <a:ext cx="6012920" cy="1021556"/>
          </a:xfrm>
        </p:spPr>
        <p:txBody>
          <a:bodyPr anchor="t">
            <a:noAutofit/>
          </a:bodyPr>
          <a:lstStyle>
            <a:lvl1pPr algn="l">
              <a:defRPr sz="3600" b="1" i="0" cap="none">
                <a:solidFill>
                  <a:srgbClr val="74CA2D"/>
                </a:solidFill>
                <a:latin typeface="Rational TW Display Book" panose="02010009030000000000" pitchFamily="49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2117" y="1846660"/>
            <a:ext cx="6012921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3AFC5-4290-E644-978D-4E5ADF2564A1}" type="datetimeFigureOut">
              <a:rPr lang="en-US" smtClean="0"/>
              <a:t>10/25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62AF9-5995-8B4D-99C6-8C7D3D3BBE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51114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15B5C03-CB23-DC4F-B6A0-343C6C308F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3305176"/>
            <a:ext cx="7772400" cy="1021556"/>
          </a:xfrm>
        </p:spPr>
        <p:txBody>
          <a:bodyPr anchor="t">
            <a:noAutofit/>
          </a:bodyPr>
          <a:lstStyle>
            <a:lvl1pPr algn="l">
              <a:defRPr sz="3200" b="1" i="0" cap="none">
                <a:solidFill>
                  <a:srgbClr val="74CA2D"/>
                </a:solidFill>
                <a:latin typeface="Rational TW Display Book" panose="02010009030000000000" pitchFamily="49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8882C51-32F4-2644-8D16-3F8F5EC465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206365E-A61B-A940-BCFF-E2C0148339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fld id="{EAF3AFC5-4290-E644-978D-4E5ADF2564A1}" type="datetimeFigureOut">
              <a:rPr lang="en-US" smtClean="0"/>
              <a:t>10/25/2020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ED625F1-6C4A-794E-A907-AE9F64F40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EBACBFB-288F-5C48-8944-DCB0B086F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</p:spPr>
        <p:txBody>
          <a:bodyPr/>
          <a:lstStyle/>
          <a:p>
            <a:fld id="{7A062AF9-5995-8B4D-99C6-8C7D3D3BBE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465069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9437" y="218515"/>
            <a:ext cx="5445126" cy="719271"/>
          </a:xfrm>
        </p:spPr>
        <p:txBody>
          <a:bodyPr/>
          <a:lstStyle>
            <a:lvl1pPr>
              <a:defRPr b="1" i="0">
                <a:solidFill>
                  <a:srgbClr val="74CA2D"/>
                </a:solidFill>
                <a:latin typeface="Rational TW Display Book" panose="02010009030000000000" pitchFamily="49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3AFC5-4290-E644-978D-4E5ADF2564A1}" type="datetimeFigureOut">
              <a:rPr lang="en-US" smtClean="0"/>
              <a:t>10/25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62AF9-5995-8B4D-99C6-8C7D3D3BBE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5329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93249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3209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772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08928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7454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9E1C9F4-BCC5-451C-92B3-411E7CB48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924" y="4738687"/>
            <a:ext cx="323527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DB5E79E3-17E5-4B5A-8CE4-FA5A82716DF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24623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77635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56535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37070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1901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43291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50256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49724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0512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8017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72841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9327872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1131889"/>
            <a:ext cx="8496300" cy="3557770"/>
          </a:xfrm>
          <a:prstGeom prst="rect">
            <a:avLst/>
          </a:prstGeom>
        </p:spPr>
        <p:txBody>
          <a:bodyPr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719138" indent="-176213" algn="l">
              <a:lnSpc>
                <a:spcPct val="90000"/>
              </a:lnSpc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8632598" y="4871788"/>
            <a:ext cx="1875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000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000" b="0" i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4689659"/>
            <a:ext cx="8496300" cy="14436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75" y="4939951"/>
            <a:ext cx="465930" cy="857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1100" y="4902762"/>
            <a:ext cx="697484" cy="2278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769" y="4920694"/>
            <a:ext cx="735496" cy="12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31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B3FEDB7-50AE-41AD-8B9F-BE6E72D9D328}"/>
              </a:ext>
            </a:extLst>
          </p:cNvPr>
          <p:cNvSpPr/>
          <p:nvPr userDrawn="1"/>
        </p:nvSpPr>
        <p:spPr>
          <a:xfrm>
            <a:off x="0" y="1466907"/>
            <a:ext cx="9144000" cy="3048532"/>
          </a:xfrm>
          <a:prstGeom prst="rect">
            <a:avLst/>
          </a:prstGeom>
          <a:solidFill>
            <a:srgbClr val="FFC300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5400" b="1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D3228C-DDBC-4B4A-A91B-94E388A07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36109" y="3777398"/>
            <a:ext cx="6871781" cy="39006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rgbClr val="00496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#SDGSummit2020</a:t>
            </a:r>
          </a:p>
          <a:p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1FA805-32D6-4B78-8EEC-A3C831405028}"/>
              </a:ext>
            </a:extLst>
          </p:cNvPr>
          <p:cNvSpPr/>
          <p:nvPr userDrawn="1"/>
        </p:nvSpPr>
        <p:spPr>
          <a:xfrm>
            <a:off x="251520" y="195486"/>
            <a:ext cx="8640960" cy="10828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close up of a screen&#10;&#10;Description automatically generated">
            <a:extLst>
              <a:ext uri="{FF2B5EF4-FFF2-40B4-BE49-F238E27FC236}">
                <a16:creationId xmlns:a16="http://schemas.microsoft.com/office/drawing/2014/main" id="{2E1565BD-B6A6-400B-8508-8203A2B24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7" t="17694" r="2351" b="29291"/>
          <a:stretch/>
        </p:blipFill>
        <p:spPr>
          <a:xfrm>
            <a:off x="1547664" y="161290"/>
            <a:ext cx="6562856" cy="115786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3DBC68-7BE4-4177-8F30-2728F387A4D8}"/>
              </a:ext>
            </a:extLst>
          </p:cNvPr>
          <p:cNvCxnSpPr>
            <a:cxnSpLocks/>
          </p:cNvCxnSpPr>
          <p:nvPr userDrawn="1"/>
        </p:nvCxnSpPr>
        <p:spPr>
          <a:xfrm>
            <a:off x="5364088" y="4560276"/>
            <a:ext cx="0" cy="58322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30E8B336-0414-4E3D-8BB1-6EB2AF772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10" r="-2010"/>
          <a:stretch/>
        </p:blipFill>
        <p:spPr>
          <a:xfrm>
            <a:off x="188068" y="343238"/>
            <a:ext cx="1232519" cy="782749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D21F1D38-EC48-45AE-9697-2B3C198454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614" y="195486"/>
            <a:ext cx="616866" cy="566629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584D8F9A-3396-4F92-A0ED-B50F711D335F}"/>
              </a:ext>
            </a:extLst>
          </p:cNvPr>
          <p:cNvSpPr/>
          <p:nvPr userDrawn="1"/>
        </p:nvSpPr>
        <p:spPr>
          <a:xfrm>
            <a:off x="0" y="4491583"/>
            <a:ext cx="9180512" cy="6519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61DC4C7-53B2-4989-96AE-AA0A3D9D4474}"/>
              </a:ext>
            </a:extLst>
          </p:cNvPr>
          <p:cNvSpPr/>
          <p:nvPr userDrawn="1"/>
        </p:nvSpPr>
        <p:spPr>
          <a:xfrm>
            <a:off x="-116749" y="4149223"/>
            <a:ext cx="9441261" cy="377100"/>
          </a:xfrm>
          <a:custGeom>
            <a:avLst/>
            <a:gdLst>
              <a:gd name="connsiteX0" fmla="*/ 0 w 9144000"/>
              <a:gd name="connsiteY0" fmla="*/ 0 h 914400"/>
              <a:gd name="connsiteX1" fmla="*/ 9144000 w 9144000"/>
              <a:gd name="connsiteY1" fmla="*/ 0 h 914400"/>
              <a:gd name="connsiteX2" fmla="*/ 9144000 w 9144000"/>
              <a:gd name="connsiteY2" fmla="*/ 914400 h 914400"/>
              <a:gd name="connsiteX3" fmla="*/ 0 w 9144000"/>
              <a:gd name="connsiteY3" fmla="*/ 914400 h 914400"/>
              <a:gd name="connsiteX4" fmla="*/ 0 w 9144000"/>
              <a:gd name="connsiteY4" fmla="*/ 0 h 914400"/>
              <a:gd name="connsiteX0" fmla="*/ 0 w 9163878"/>
              <a:gd name="connsiteY0" fmla="*/ 894521 h 914400"/>
              <a:gd name="connsiteX1" fmla="*/ 9163878 w 9163878"/>
              <a:gd name="connsiteY1" fmla="*/ 0 h 914400"/>
              <a:gd name="connsiteX2" fmla="*/ 9163878 w 9163878"/>
              <a:gd name="connsiteY2" fmla="*/ 914400 h 914400"/>
              <a:gd name="connsiteX3" fmla="*/ 19878 w 9163878"/>
              <a:gd name="connsiteY3" fmla="*/ 914400 h 914400"/>
              <a:gd name="connsiteX4" fmla="*/ 0 w 9163878"/>
              <a:gd name="connsiteY4" fmla="*/ 894521 h 914400"/>
              <a:gd name="connsiteX0" fmla="*/ 0 w 9163878"/>
              <a:gd name="connsiteY0" fmla="*/ 384313 h 404192"/>
              <a:gd name="connsiteX1" fmla="*/ 9144000 w 9163878"/>
              <a:gd name="connsiteY1" fmla="*/ 0 h 404192"/>
              <a:gd name="connsiteX2" fmla="*/ 9163878 w 9163878"/>
              <a:gd name="connsiteY2" fmla="*/ 404192 h 404192"/>
              <a:gd name="connsiteX3" fmla="*/ 19878 w 9163878"/>
              <a:gd name="connsiteY3" fmla="*/ 404192 h 404192"/>
              <a:gd name="connsiteX4" fmla="*/ 0 w 9163878"/>
              <a:gd name="connsiteY4" fmla="*/ 384313 h 40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63878" h="404192">
                <a:moveTo>
                  <a:pt x="0" y="384313"/>
                </a:moveTo>
                <a:lnTo>
                  <a:pt x="9144000" y="0"/>
                </a:lnTo>
                <a:lnTo>
                  <a:pt x="9163878" y="404192"/>
                </a:lnTo>
                <a:lnTo>
                  <a:pt x="19878" y="404192"/>
                </a:lnTo>
                <a:lnTo>
                  <a:pt x="0" y="384313"/>
                </a:lnTo>
                <a:close/>
              </a:path>
            </a:pathLst>
          </a:custGeom>
          <a:solidFill>
            <a:srgbClr val="004962"/>
          </a:solidFill>
          <a:ln>
            <a:solidFill>
              <a:srgbClr val="0249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72716F3C-26C1-4A48-B0A9-45AA0C274E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3925" y="1723504"/>
            <a:ext cx="7139505" cy="53333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004962"/>
                </a:solidFill>
              </a:defRPr>
            </a:lvl1pPr>
          </a:lstStyle>
          <a:p>
            <a:r>
              <a:rPr lang="en-US"/>
              <a:t>Click to Insert Title of the Session</a:t>
            </a:r>
            <a:endParaRPr lang="en-GB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CC0E42C-DCEF-4B3E-973B-79016F461D4C}"/>
              </a:ext>
            </a:extLst>
          </p:cNvPr>
          <p:cNvSpPr txBox="1"/>
          <p:nvPr userDrawn="1"/>
        </p:nvSpPr>
        <p:spPr>
          <a:xfrm>
            <a:off x="1835696" y="2828072"/>
            <a:ext cx="5400600" cy="36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/>
          </a:p>
        </p:txBody>
      </p:sp>
      <p:sp>
        <p:nvSpPr>
          <p:cNvPr id="49" name="Content Placeholder 48">
            <a:extLst>
              <a:ext uri="{FF2B5EF4-FFF2-40B4-BE49-F238E27FC236}">
                <a16:creationId xmlns:a16="http://schemas.microsoft.com/office/drawing/2014/main" id="{3D31DA85-6E54-449C-AC76-70F18E84A00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03925" y="2302572"/>
            <a:ext cx="7139505" cy="366400"/>
          </a:xfrm>
          <a:prstGeom prst="rect">
            <a:avLst/>
          </a:prstGeom>
        </p:spPr>
        <p:txBody>
          <a:bodyPr/>
          <a:lstStyle>
            <a:lvl1pPr algn="ctr">
              <a:buNone/>
              <a:defRPr sz="2400">
                <a:solidFill>
                  <a:srgbClr val="00496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Insert Lower Title</a:t>
            </a:r>
            <a:endParaRPr lang="en-GB"/>
          </a:p>
        </p:txBody>
      </p:sp>
      <p:sp>
        <p:nvSpPr>
          <p:cNvPr id="51" name="Content Placeholder 50">
            <a:extLst>
              <a:ext uri="{FF2B5EF4-FFF2-40B4-BE49-F238E27FC236}">
                <a16:creationId xmlns:a16="http://schemas.microsoft.com/office/drawing/2014/main" id="{AB4CA9CE-B619-4787-B1F6-01E4D35D830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03925" y="2739674"/>
            <a:ext cx="7139505" cy="436563"/>
          </a:xfrm>
          <a:prstGeom prst="rect">
            <a:avLst/>
          </a:prstGeom>
        </p:spPr>
        <p:txBody>
          <a:bodyPr/>
          <a:lstStyle>
            <a:lvl1pPr algn="ctr">
              <a:buNone/>
              <a:defRPr sz="2400" b="1" baseline="30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INSERT DATE IN THE FOLLOWING FORMAT:</a:t>
            </a:r>
          </a:p>
          <a:p>
            <a:pPr lvl="0"/>
            <a:r>
              <a:rPr lang="en-US"/>
              <a:t>13TH MARCH, 2020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C2D92B-BDCB-49E5-8CE7-29550D23F5D9}"/>
              </a:ext>
            </a:extLst>
          </p:cNvPr>
          <p:cNvSpPr txBox="1"/>
          <p:nvPr userDrawn="1"/>
        </p:nvSpPr>
        <p:spPr>
          <a:xfrm>
            <a:off x="135289" y="4645545"/>
            <a:ext cx="11937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solidFill>
                  <a:srgbClr val="024963"/>
                </a:solidFill>
              </a:rPr>
              <a:t>THANKS TO THE SUPPORT OF</a:t>
            </a:r>
            <a:r>
              <a:rPr lang="en-GB" sz="1200">
                <a:solidFill>
                  <a:srgbClr val="024963"/>
                </a:solidFill>
              </a:rPr>
              <a:t>: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5084F62-640A-4A57-9350-E5FA2795611E}"/>
              </a:ext>
            </a:extLst>
          </p:cNvPr>
          <p:cNvGrpSpPr/>
          <p:nvPr userDrawn="1"/>
        </p:nvGrpSpPr>
        <p:grpSpPr>
          <a:xfrm>
            <a:off x="1547664" y="4637045"/>
            <a:ext cx="4533759" cy="398867"/>
            <a:chOff x="2237060" y="4669026"/>
            <a:chExt cx="4533759" cy="398867"/>
          </a:xfrm>
        </p:grpSpPr>
        <p:pic>
          <p:nvPicPr>
            <p:cNvPr id="30" name="Picture 29" descr="Logo&#10;&#10;Description automatically generated">
              <a:extLst>
                <a:ext uri="{FF2B5EF4-FFF2-40B4-BE49-F238E27FC236}">
                  <a16:creationId xmlns:a16="http://schemas.microsoft.com/office/drawing/2014/main" id="{80E759C7-B3D7-4369-8384-60B5D46727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7060" y="4669026"/>
              <a:ext cx="1106882" cy="398867"/>
            </a:xfrm>
            <a:prstGeom prst="rect">
              <a:avLst/>
            </a:prstGeom>
          </p:spPr>
        </p:pic>
        <p:pic>
          <p:nvPicPr>
            <p:cNvPr id="32" name="Picture 31" descr="Logo, company name&#10;&#10;Description automatically generated">
              <a:extLst>
                <a:ext uri="{FF2B5EF4-FFF2-40B4-BE49-F238E27FC236}">
                  <a16:creationId xmlns:a16="http://schemas.microsoft.com/office/drawing/2014/main" id="{28971AC2-DBEC-46CD-A8DB-EEC75B40AF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108" b="33577"/>
            <a:stretch/>
          </p:blipFill>
          <p:spPr>
            <a:xfrm>
              <a:off x="5502767" y="4723414"/>
              <a:ext cx="1268052" cy="290091"/>
            </a:xfrm>
            <a:prstGeom prst="rect">
              <a:avLst/>
            </a:prstGeom>
          </p:spPr>
        </p:pic>
        <p:pic>
          <p:nvPicPr>
            <p:cNvPr id="34" name="Picture 3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092ECF0-D721-4DF3-A0B1-6686D97A773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61" r="1117" b="1347"/>
            <a:stretch/>
          </p:blipFill>
          <p:spPr>
            <a:xfrm>
              <a:off x="3779913" y="4679910"/>
              <a:ext cx="1286882" cy="377099"/>
            </a:xfrm>
            <a:prstGeom prst="rect">
              <a:avLst/>
            </a:prstGeom>
          </p:spPr>
        </p:pic>
      </p:grpSp>
      <p:pic>
        <p:nvPicPr>
          <p:cNvPr id="5" name="Picture 4" descr="A picture containing drawing, wheel&#10;&#10;Description automatically generated">
            <a:extLst>
              <a:ext uri="{FF2B5EF4-FFF2-40B4-BE49-F238E27FC236}">
                <a16:creationId xmlns:a16="http://schemas.microsoft.com/office/drawing/2014/main" id="{FA781584-C0EB-42E7-A7C8-75092667100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889" y="4783632"/>
            <a:ext cx="594637" cy="146677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2DA7AA2E-D42A-4A5D-B7B5-F375D861C62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5299" y="4559430"/>
            <a:ext cx="583725" cy="58407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7C7ED6-14C6-457D-BE37-154160DDE6A8}"/>
              </a:ext>
            </a:extLst>
          </p:cNvPr>
          <p:cNvCxnSpPr>
            <a:cxnSpLocks/>
          </p:cNvCxnSpPr>
          <p:nvPr userDrawn="1"/>
        </p:nvCxnSpPr>
        <p:spPr>
          <a:xfrm>
            <a:off x="6300192" y="4647929"/>
            <a:ext cx="0" cy="387983"/>
          </a:xfrm>
          <a:prstGeom prst="line">
            <a:avLst/>
          </a:prstGeom>
          <a:ln>
            <a:solidFill>
              <a:srgbClr val="FFC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FE72D25-B51E-4B0C-B730-630B55DC94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89611" y="3342324"/>
            <a:ext cx="1764778" cy="362017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660568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AC135BB-2BF0-461C-B150-2FB35FAC385B}"/>
              </a:ext>
            </a:extLst>
          </p:cNvPr>
          <p:cNvSpPr/>
          <p:nvPr userDrawn="1"/>
        </p:nvSpPr>
        <p:spPr>
          <a:xfrm>
            <a:off x="1507092" y="149864"/>
            <a:ext cx="4680520" cy="8640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AE0814-5A3F-4AEE-BBDD-BFF605A48F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19672" y="221871"/>
            <a:ext cx="1368152" cy="420225"/>
          </a:xfrm>
          <a:prstGeom prst="rect">
            <a:avLst/>
          </a:prstGeo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Agenda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5A6054-9584-4236-A26C-25F57DC3CCCB}"/>
              </a:ext>
            </a:extLst>
          </p:cNvPr>
          <p:cNvCxnSpPr/>
          <p:nvPr userDrawn="1"/>
        </p:nvCxnSpPr>
        <p:spPr>
          <a:xfrm>
            <a:off x="1511955" y="221872"/>
            <a:ext cx="0" cy="720080"/>
          </a:xfrm>
          <a:prstGeom prst="line">
            <a:avLst/>
          </a:prstGeom>
          <a:ln w="12700">
            <a:solidFill>
              <a:srgbClr val="FFC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7646F27-749E-48CD-AF8E-530235AD0B4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619250" y="641350"/>
            <a:ext cx="2305050" cy="274638"/>
          </a:xfrm>
          <a:prstGeom prst="rect">
            <a:avLst/>
          </a:prstGeom>
        </p:spPr>
        <p:txBody>
          <a:bodyPr/>
          <a:lstStyle>
            <a:lvl1pPr>
              <a:buNone/>
              <a:defRPr sz="1600" b="1">
                <a:solidFill>
                  <a:srgbClr val="FFC300"/>
                </a:solidFill>
              </a:defRPr>
            </a:lvl1pPr>
          </a:lstStyle>
          <a:p>
            <a:pPr lvl="0"/>
            <a:r>
              <a:rPr lang="en-US"/>
              <a:t>26 OCTOBER 2020</a:t>
            </a:r>
            <a:endParaRPr lang="en-GB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BC0FE045-8ABF-4B08-9F8E-818CB1B3B6F5}"/>
              </a:ext>
            </a:extLst>
          </p:cNvPr>
          <p:cNvSpPr/>
          <p:nvPr userDrawn="1"/>
        </p:nvSpPr>
        <p:spPr>
          <a:xfrm>
            <a:off x="-180528" y="4869949"/>
            <a:ext cx="3816424" cy="284184"/>
          </a:xfrm>
          <a:custGeom>
            <a:avLst/>
            <a:gdLst>
              <a:gd name="connsiteX0" fmla="*/ 0 w 9144000"/>
              <a:gd name="connsiteY0" fmla="*/ 0 h 914400"/>
              <a:gd name="connsiteX1" fmla="*/ 9144000 w 9144000"/>
              <a:gd name="connsiteY1" fmla="*/ 0 h 914400"/>
              <a:gd name="connsiteX2" fmla="*/ 9144000 w 9144000"/>
              <a:gd name="connsiteY2" fmla="*/ 914400 h 914400"/>
              <a:gd name="connsiteX3" fmla="*/ 0 w 9144000"/>
              <a:gd name="connsiteY3" fmla="*/ 914400 h 914400"/>
              <a:gd name="connsiteX4" fmla="*/ 0 w 9144000"/>
              <a:gd name="connsiteY4" fmla="*/ 0 h 914400"/>
              <a:gd name="connsiteX0" fmla="*/ 0 w 9163878"/>
              <a:gd name="connsiteY0" fmla="*/ 894521 h 914400"/>
              <a:gd name="connsiteX1" fmla="*/ 9163878 w 9163878"/>
              <a:gd name="connsiteY1" fmla="*/ 0 h 914400"/>
              <a:gd name="connsiteX2" fmla="*/ 9163878 w 9163878"/>
              <a:gd name="connsiteY2" fmla="*/ 914400 h 914400"/>
              <a:gd name="connsiteX3" fmla="*/ 19878 w 9163878"/>
              <a:gd name="connsiteY3" fmla="*/ 914400 h 914400"/>
              <a:gd name="connsiteX4" fmla="*/ 0 w 9163878"/>
              <a:gd name="connsiteY4" fmla="*/ 894521 h 914400"/>
              <a:gd name="connsiteX0" fmla="*/ 0 w 9163878"/>
              <a:gd name="connsiteY0" fmla="*/ 384313 h 404192"/>
              <a:gd name="connsiteX1" fmla="*/ 9144000 w 9163878"/>
              <a:gd name="connsiteY1" fmla="*/ 0 h 404192"/>
              <a:gd name="connsiteX2" fmla="*/ 9163878 w 9163878"/>
              <a:gd name="connsiteY2" fmla="*/ 404192 h 404192"/>
              <a:gd name="connsiteX3" fmla="*/ 19878 w 9163878"/>
              <a:gd name="connsiteY3" fmla="*/ 404192 h 404192"/>
              <a:gd name="connsiteX4" fmla="*/ 0 w 9163878"/>
              <a:gd name="connsiteY4" fmla="*/ 384313 h 40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63878" h="404192">
                <a:moveTo>
                  <a:pt x="0" y="384313"/>
                </a:moveTo>
                <a:lnTo>
                  <a:pt x="9144000" y="0"/>
                </a:lnTo>
                <a:lnTo>
                  <a:pt x="9163878" y="404192"/>
                </a:lnTo>
                <a:lnTo>
                  <a:pt x="19878" y="404192"/>
                </a:lnTo>
                <a:lnTo>
                  <a:pt x="0" y="384313"/>
                </a:lnTo>
                <a:close/>
              </a:path>
            </a:pathLst>
          </a:custGeom>
          <a:solidFill>
            <a:srgbClr val="024963"/>
          </a:solidFill>
          <a:ln>
            <a:solidFill>
              <a:srgbClr val="0049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E6CBFA-9638-40FC-95F5-3C4B2B07EFF7}"/>
              </a:ext>
            </a:extLst>
          </p:cNvPr>
          <p:cNvSpPr/>
          <p:nvPr userDrawn="1"/>
        </p:nvSpPr>
        <p:spPr>
          <a:xfrm>
            <a:off x="3563890" y="0"/>
            <a:ext cx="5580110" cy="5143500"/>
          </a:xfrm>
          <a:prstGeom prst="rect">
            <a:avLst/>
          </a:prstGeom>
          <a:solidFill>
            <a:srgbClr val="FFC300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B23ADC9-6CE1-4039-B00A-55F007B934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4382" y="365967"/>
            <a:ext cx="3744674" cy="400216"/>
          </a:xfrm>
          <a:prstGeom prst="rect">
            <a:avLst/>
          </a:prstGeom>
        </p:spPr>
        <p:txBody>
          <a:bodyPr/>
          <a:lstStyle>
            <a:lvl1pPr>
              <a:buNone/>
              <a:defRPr sz="2000" b="1">
                <a:solidFill>
                  <a:srgbClr val="004962"/>
                </a:solidFill>
              </a:defRPr>
            </a:lvl1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nter Slot Nam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F34B4A-90E9-41D5-A3C8-2D528DEBF35C}"/>
              </a:ext>
            </a:extLst>
          </p:cNvPr>
          <p:cNvCxnSpPr>
            <a:cxnSpLocks/>
          </p:cNvCxnSpPr>
          <p:nvPr userDrawn="1"/>
        </p:nvCxnSpPr>
        <p:spPr>
          <a:xfrm>
            <a:off x="4572000" y="0"/>
            <a:ext cx="0" cy="5143500"/>
          </a:xfrm>
          <a:prstGeom prst="line">
            <a:avLst/>
          </a:prstGeom>
          <a:ln w="19050">
            <a:solidFill>
              <a:srgbClr val="0249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E15F5C-99C9-491E-9AF0-CE33996E06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3890" y="424326"/>
            <a:ext cx="1115405" cy="284184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rgbClr val="004962"/>
                </a:solidFill>
              </a:defRPr>
            </a:lvl1pPr>
            <a:lvl3pPr>
              <a:defRPr/>
            </a:lvl3pPr>
          </a:lstStyle>
          <a:p>
            <a:pPr lvl="0"/>
            <a:r>
              <a:rPr lang="en-US"/>
              <a:t>11.00 – 11.10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EED793D-C8A9-47E5-8BF1-6A822F68BB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4382" y="794507"/>
            <a:ext cx="3960440" cy="288675"/>
          </a:xfrm>
          <a:prstGeom prst="rect">
            <a:avLst/>
          </a:prstGeom>
        </p:spPr>
        <p:txBody>
          <a:bodyPr/>
          <a:lstStyle>
            <a:lvl1pPr>
              <a:buNone/>
              <a:defRPr sz="1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peakers’ Name</a:t>
            </a:r>
            <a:endParaRPr lang="en-GB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B26952E-9660-4555-83AE-A16F2669C7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1519" y="1995686"/>
            <a:ext cx="3528381" cy="400216"/>
          </a:xfrm>
          <a:prstGeom prst="rect">
            <a:avLst/>
          </a:prstGeom>
        </p:spPr>
        <p:txBody>
          <a:bodyPr/>
          <a:lstStyle>
            <a:lvl1pPr>
              <a:buNone/>
              <a:defRPr sz="2000" b="0">
                <a:solidFill>
                  <a:srgbClr val="FFC300"/>
                </a:solidFill>
              </a:defRPr>
            </a:lvl1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Session Moderator (if present):</a:t>
            </a:r>
          </a:p>
          <a:p>
            <a:pPr lvl="0"/>
            <a:endParaRPr lang="en-US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2B6F84CE-3598-4792-B3AB-67434E3A99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520" y="2395902"/>
            <a:ext cx="3096342" cy="400216"/>
          </a:xfrm>
          <a:prstGeom prst="rect">
            <a:avLst/>
          </a:prstGeom>
        </p:spPr>
        <p:txBody>
          <a:bodyPr/>
          <a:lstStyle>
            <a:lvl1pPr>
              <a:buNone/>
              <a:defRPr sz="2000" b="0">
                <a:solidFill>
                  <a:srgbClr val="004962"/>
                </a:solidFill>
              </a:defRPr>
            </a:lvl1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John Wayne</a:t>
            </a:r>
          </a:p>
          <a:p>
            <a:pPr lvl="0"/>
            <a:endParaRPr lang="en-US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377CD12-EF68-4869-A866-F41399D8A5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1520" y="2841428"/>
            <a:ext cx="3096342" cy="400216"/>
          </a:xfrm>
          <a:prstGeom prst="rect">
            <a:avLst/>
          </a:prstGeom>
        </p:spPr>
        <p:txBody>
          <a:bodyPr/>
          <a:lstStyle>
            <a:lvl1pPr>
              <a:buNone/>
              <a:defRPr sz="1600" b="0" i="1">
                <a:solidFill>
                  <a:srgbClr val="004962"/>
                </a:solidFill>
              </a:defRPr>
            </a:lvl1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Insert Job Title</a:t>
            </a:r>
          </a:p>
          <a:p>
            <a:pPr lvl="0"/>
            <a:endParaRPr lang="en-US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657D8F5C-BC8E-4F69-82AB-D1026BBCBB6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520" y="3286954"/>
            <a:ext cx="3096342" cy="400216"/>
          </a:xfrm>
          <a:prstGeom prst="rect">
            <a:avLst/>
          </a:prstGeom>
        </p:spPr>
        <p:txBody>
          <a:bodyPr/>
          <a:lstStyle>
            <a:lvl1pPr>
              <a:buNone/>
              <a:defRPr sz="1600" b="0" i="0">
                <a:solidFill>
                  <a:srgbClr val="004962"/>
                </a:solidFill>
              </a:defRPr>
            </a:lvl1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Insert Company Name</a:t>
            </a:r>
          </a:p>
          <a:p>
            <a:pPr lvl="0"/>
            <a:endParaRPr lang="en-US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546E6D4E-F6E8-4EDE-91BD-D2BB848680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6589" y="4593420"/>
            <a:ext cx="3528381" cy="400216"/>
          </a:xfrm>
          <a:prstGeom prst="rect">
            <a:avLst/>
          </a:prstGeom>
        </p:spPr>
        <p:txBody>
          <a:bodyPr/>
          <a:lstStyle>
            <a:lvl1pPr>
              <a:buNone/>
              <a:defRPr sz="2000" b="0">
                <a:solidFill>
                  <a:srgbClr val="FFC300"/>
                </a:solidFill>
              </a:defRPr>
            </a:lvl1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INSERT #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9431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nic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E0814-5A3F-4AEE-BBDD-BFF605A48F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1419622"/>
            <a:ext cx="8496943" cy="616330"/>
          </a:xfrm>
          <a:prstGeom prst="rect">
            <a:avLst/>
          </a:prstGeom>
        </p:spPr>
        <p:txBody>
          <a:bodyPr anchor="b"/>
          <a:lstStyle>
            <a:lvl1pPr>
              <a:defRPr sz="3000" b="1"/>
            </a:lvl1pPr>
          </a:lstStyle>
          <a:p>
            <a:r>
              <a:rPr lang="en-US"/>
              <a:t>Technical Details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73084B-7CA0-4827-81BF-C6E14EE8FA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36" y="2139702"/>
            <a:ext cx="8424935" cy="2304256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24963"/>
                </a:solidFill>
              </a:defRPr>
            </a:lvl1pPr>
            <a:lvl2pPr>
              <a:defRPr b="0">
                <a:solidFill>
                  <a:srgbClr val="FFC300"/>
                </a:solidFill>
              </a:defRPr>
            </a:lvl2pPr>
            <a:lvl3pPr>
              <a:defRPr b="0">
                <a:solidFill>
                  <a:srgbClr val="FFC300"/>
                </a:solidFill>
              </a:defRPr>
            </a:lvl3pPr>
          </a:lstStyle>
          <a:p>
            <a:pPr lvl="0"/>
            <a:r>
              <a:rPr lang="en-US"/>
              <a:t>Insert your text</a:t>
            </a:r>
          </a:p>
          <a:p>
            <a:pPr lvl="1"/>
            <a:r>
              <a:rPr lang="en-US"/>
              <a:t>Insert your text</a:t>
            </a:r>
          </a:p>
          <a:p>
            <a:pPr lvl="2"/>
            <a:r>
              <a:rPr lang="en-US"/>
              <a:t>Insert your text</a:t>
            </a:r>
          </a:p>
        </p:txBody>
      </p:sp>
    </p:spTree>
    <p:extLst>
      <p:ext uri="{BB962C8B-B14F-4D97-AF65-F5344CB8AC3E}">
        <p14:creationId xmlns:p14="http://schemas.microsoft.com/office/powerpoint/2010/main" val="412054221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and speak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81F6F13-26C8-43ED-8EE3-DC87EBB62D45}"/>
              </a:ext>
            </a:extLst>
          </p:cNvPr>
          <p:cNvSpPr/>
          <p:nvPr userDrawn="1"/>
        </p:nvSpPr>
        <p:spPr>
          <a:xfrm>
            <a:off x="5364088" y="1419622"/>
            <a:ext cx="2376264" cy="2538602"/>
          </a:xfrm>
          <a:prstGeom prst="rect">
            <a:avLst/>
          </a:prstGeom>
          <a:solidFill>
            <a:schemeClr val="bg1"/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6EE865-47C9-4D9B-B229-EA3AC8BE1A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481" y="2937018"/>
            <a:ext cx="3879527" cy="3088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i="1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Job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7B9436-320F-4A6D-B361-32CF256A29E8}"/>
              </a:ext>
            </a:extLst>
          </p:cNvPr>
          <p:cNvSpPr/>
          <p:nvPr userDrawn="1"/>
        </p:nvSpPr>
        <p:spPr>
          <a:xfrm>
            <a:off x="1475656" y="159356"/>
            <a:ext cx="3456384" cy="8835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6FE565-F3E1-4573-88C4-B00E8A12EB85}"/>
              </a:ext>
            </a:extLst>
          </p:cNvPr>
          <p:cNvSpPr/>
          <p:nvPr userDrawn="1"/>
        </p:nvSpPr>
        <p:spPr>
          <a:xfrm>
            <a:off x="4572000" y="-20538"/>
            <a:ext cx="4572000" cy="5164038"/>
          </a:xfrm>
          <a:prstGeom prst="rect">
            <a:avLst/>
          </a:prstGeom>
          <a:solidFill>
            <a:srgbClr val="FFC300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4" algn="l"/>
            <a:endParaRPr lang="nl-BE" sz="1600" b="0" i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C66CF7-15EF-448B-94D9-DA9BD9E43E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896" y="2571750"/>
            <a:ext cx="3888432" cy="330120"/>
          </a:xfrm>
          <a:prstGeom prst="rect">
            <a:avLst/>
          </a:prstGeom>
        </p:spPr>
        <p:txBody>
          <a:bodyPr anchor="b"/>
          <a:lstStyle>
            <a:lvl1pPr algn="l">
              <a:defRPr sz="2000" i="0">
                <a:solidFill>
                  <a:srgbClr val="024963"/>
                </a:solidFill>
              </a:defRPr>
            </a:lvl1pPr>
          </a:lstStyle>
          <a:p>
            <a:r>
              <a:rPr lang="en-US"/>
              <a:t>INSERT NAME OF SPEAKER</a:t>
            </a:r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AF4EC2C-26BA-4129-A059-269A30720385}"/>
              </a:ext>
            </a:extLst>
          </p:cNvPr>
          <p:cNvSpPr/>
          <p:nvPr userDrawn="1"/>
        </p:nvSpPr>
        <p:spPr>
          <a:xfrm>
            <a:off x="5283926" y="1242124"/>
            <a:ext cx="3148148" cy="314814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icture containing window&#10;&#10;Description automatically generated">
            <a:extLst>
              <a:ext uri="{FF2B5EF4-FFF2-40B4-BE49-F238E27FC236}">
                <a16:creationId xmlns:a16="http://schemas.microsoft.com/office/drawing/2014/main" id="{362015F7-DCBC-4CDE-83EC-E31807B31B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451" y="1242124"/>
            <a:ext cx="3152623" cy="3152623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18E09A3-E397-4434-999B-F1F8374E079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31112" y="1437944"/>
            <a:ext cx="2649299" cy="2736304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rgbClr val="FFC300"/>
                </a:solidFill>
              </a:defRPr>
            </a:lvl1pPr>
          </a:lstStyle>
          <a:p>
            <a:endParaRPr lang="en-GB"/>
          </a:p>
          <a:p>
            <a:r>
              <a:rPr lang="en-GB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24F78B-9625-4021-9C11-1D86BAC3DF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481" y="3291719"/>
            <a:ext cx="3893847" cy="308868"/>
          </a:xfrm>
        </p:spPr>
        <p:txBody>
          <a:bodyPr/>
          <a:lstStyle>
            <a:lvl1pPr>
              <a:buNone/>
              <a:defRPr lang="en-GB" sz="1800" i="0" kern="1200" dirty="0">
                <a:solidFill>
                  <a:srgbClr val="02496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Company Name</a:t>
            </a:r>
          </a:p>
        </p:txBody>
      </p:sp>
      <p:pic>
        <p:nvPicPr>
          <p:cNvPr id="9" name="Picture 8" descr="A close up of a screen&#10;&#10;Description automatically generated">
            <a:extLst>
              <a:ext uri="{FF2B5EF4-FFF2-40B4-BE49-F238E27FC236}">
                <a16:creationId xmlns:a16="http://schemas.microsoft.com/office/drawing/2014/main" id="{C9BC5485-72F3-481B-97CF-62F6679F2B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1475656" y="267494"/>
            <a:ext cx="2767300" cy="501933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CD00D46-AFB7-409D-B3F7-C2B328B2FD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481" y="1563688"/>
            <a:ext cx="3889375" cy="972914"/>
          </a:xfrm>
        </p:spPr>
        <p:txBody>
          <a:bodyPr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GB"/>
              <a:t>Insert Session Nam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3D89351-E8DD-4D67-91E4-F79F2564BB1A}"/>
              </a:ext>
            </a:extLst>
          </p:cNvPr>
          <p:cNvCxnSpPr/>
          <p:nvPr userDrawn="1"/>
        </p:nvCxnSpPr>
        <p:spPr>
          <a:xfrm>
            <a:off x="323528" y="1437944"/>
            <a:ext cx="0" cy="2520280"/>
          </a:xfrm>
          <a:prstGeom prst="line">
            <a:avLst/>
          </a:prstGeom>
          <a:ln w="12700">
            <a:solidFill>
              <a:srgbClr val="FFC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5321B35D-2185-4FF4-A5B4-36432A6EAF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3467" y="301117"/>
            <a:ext cx="256525" cy="235634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027544F2-B274-47A3-81C8-68D9AC90A81A}"/>
              </a:ext>
            </a:extLst>
          </p:cNvPr>
          <p:cNvSpPr/>
          <p:nvPr userDrawn="1"/>
        </p:nvSpPr>
        <p:spPr>
          <a:xfrm>
            <a:off x="0" y="4515966"/>
            <a:ext cx="9144000" cy="627534"/>
          </a:xfrm>
          <a:custGeom>
            <a:avLst/>
            <a:gdLst>
              <a:gd name="connsiteX0" fmla="*/ 0 w 9144000"/>
              <a:gd name="connsiteY0" fmla="*/ 0 h 627534"/>
              <a:gd name="connsiteX1" fmla="*/ 9144000 w 9144000"/>
              <a:gd name="connsiteY1" fmla="*/ 0 h 627534"/>
              <a:gd name="connsiteX2" fmla="*/ 9144000 w 9144000"/>
              <a:gd name="connsiteY2" fmla="*/ 627534 h 627534"/>
              <a:gd name="connsiteX3" fmla="*/ 0 w 9144000"/>
              <a:gd name="connsiteY3" fmla="*/ 627534 h 627534"/>
              <a:gd name="connsiteX4" fmla="*/ 0 w 9144000"/>
              <a:gd name="connsiteY4" fmla="*/ 0 h 627534"/>
              <a:gd name="connsiteX0" fmla="*/ 0 w 9144000"/>
              <a:gd name="connsiteY0" fmla="*/ 627534 h 627534"/>
              <a:gd name="connsiteX1" fmla="*/ 9144000 w 9144000"/>
              <a:gd name="connsiteY1" fmla="*/ 0 h 627534"/>
              <a:gd name="connsiteX2" fmla="*/ 9144000 w 9144000"/>
              <a:gd name="connsiteY2" fmla="*/ 627534 h 627534"/>
              <a:gd name="connsiteX3" fmla="*/ 0 w 9144000"/>
              <a:gd name="connsiteY3" fmla="*/ 627534 h 62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27534">
                <a:moveTo>
                  <a:pt x="0" y="627534"/>
                </a:moveTo>
                <a:lnTo>
                  <a:pt x="9144000" y="0"/>
                </a:lnTo>
                <a:lnTo>
                  <a:pt x="9144000" y="627534"/>
                </a:lnTo>
                <a:lnTo>
                  <a:pt x="0" y="627534"/>
                </a:lnTo>
                <a:close/>
              </a:path>
            </a:pathLst>
          </a:custGeom>
          <a:solidFill>
            <a:srgbClr val="004962"/>
          </a:solidFill>
          <a:ln>
            <a:solidFill>
              <a:srgbClr val="0249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B098B0E-A366-437A-9B79-5B60EAF2F7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4288" y="4710466"/>
            <a:ext cx="1656225" cy="308868"/>
          </a:xfrm>
        </p:spPr>
        <p:txBody>
          <a:bodyPr>
            <a:normAutofit/>
          </a:bodyPr>
          <a:lstStyle>
            <a:lvl1pPr algn="r">
              <a:buNone/>
              <a:defRPr sz="2000"/>
            </a:lvl1pPr>
          </a:lstStyle>
          <a:p>
            <a:pPr lvl="0"/>
            <a:r>
              <a:rPr lang="en-GB"/>
              <a:t>INSERT #</a:t>
            </a:r>
          </a:p>
        </p:txBody>
      </p:sp>
    </p:spTree>
    <p:extLst>
      <p:ext uri="{BB962C8B-B14F-4D97-AF65-F5344CB8AC3E}">
        <p14:creationId xmlns:p14="http://schemas.microsoft.com/office/powerpoint/2010/main" val="297812999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and speak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76FE565-F3E1-4573-88C4-B00E8A12EB85}"/>
              </a:ext>
            </a:extLst>
          </p:cNvPr>
          <p:cNvSpPr/>
          <p:nvPr userDrawn="1"/>
        </p:nvSpPr>
        <p:spPr>
          <a:xfrm>
            <a:off x="0" y="2564864"/>
            <a:ext cx="9144000" cy="2578635"/>
          </a:xfrm>
          <a:prstGeom prst="rect">
            <a:avLst/>
          </a:prstGeom>
          <a:solidFill>
            <a:srgbClr val="FFC300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4" algn="l"/>
            <a:endParaRPr lang="nl-BE" sz="1600" b="0" i="1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DE6A711-8C98-44DA-8BE1-3E8AAFB9683B}"/>
              </a:ext>
            </a:extLst>
          </p:cNvPr>
          <p:cNvSpPr/>
          <p:nvPr userDrawn="1"/>
        </p:nvSpPr>
        <p:spPr>
          <a:xfrm>
            <a:off x="1077088" y="1553366"/>
            <a:ext cx="2083525" cy="2083525"/>
          </a:xfrm>
          <a:prstGeom prst="ellipse">
            <a:avLst/>
          </a:prstGeom>
          <a:solidFill>
            <a:schemeClr val="bg1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Picture 18" descr="A picture containing window&#10;&#10;Description automatically generated">
            <a:extLst>
              <a:ext uri="{FF2B5EF4-FFF2-40B4-BE49-F238E27FC236}">
                <a16:creationId xmlns:a16="http://schemas.microsoft.com/office/drawing/2014/main" id="{B9C91381-EB5B-48A8-9045-574C423897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89" y="1574674"/>
            <a:ext cx="2040911" cy="2040911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671FC75E-D602-45B1-9F50-AF6D95F81F91}"/>
              </a:ext>
            </a:extLst>
          </p:cNvPr>
          <p:cNvSpPr/>
          <p:nvPr userDrawn="1"/>
        </p:nvSpPr>
        <p:spPr>
          <a:xfrm>
            <a:off x="5849242" y="1498622"/>
            <a:ext cx="2083525" cy="2083525"/>
          </a:xfrm>
          <a:prstGeom prst="ellipse">
            <a:avLst/>
          </a:prstGeom>
          <a:solidFill>
            <a:schemeClr val="bg1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7" name="Picture 36" descr="A picture containing window&#10;&#10;Description automatically generated">
            <a:extLst>
              <a:ext uri="{FF2B5EF4-FFF2-40B4-BE49-F238E27FC236}">
                <a16:creationId xmlns:a16="http://schemas.microsoft.com/office/drawing/2014/main" id="{D1451FF2-A716-48CF-BC1F-9DEC3EC5A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82" y="1511933"/>
            <a:ext cx="2040911" cy="2040911"/>
          </a:xfrm>
          <a:prstGeom prst="rect">
            <a:avLst/>
          </a:prstGeom>
        </p:spPr>
      </p:pic>
      <p:sp>
        <p:nvSpPr>
          <p:cNvPr id="39" name="Picture Placeholder 14">
            <a:extLst>
              <a:ext uri="{FF2B5EF4-FFF2-40B4-BE49-F238E27FC236}">
                <a16:creationId xmlns:a16="http://schemas.microsoft.com/office/drawing/2014/main" id="{25A53E95-0B3E-4860-B7FF-A8975B067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11377" y="1767353"/>
            <a:ext cx="1614949" cy="1667985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800">
                <a:solidFill>
                  <a:srgbClr val="FFC300"/>
                </a:solidFill>
              </a:defRPr>
            </a:lvl1pPr>
          </a:lstStyle>
          <a:p>
            <a:endParaRPr lang="en-GB"/>
          </a:p>
          <a:p>
            <a:r>
              <a:rPr lang="en-GB"/>
              <a:t>Click icon to add picture</a:t>
            </a:r>
          </a:p>
        </p:txBody>
      </p:sp>
      <p:sp>
        <p:nvSpPr>
          <p:cNvPr id="41" name="Picture Placeholder 14">
            <a:extLst>
              <a:ext uri="{FF2B5EF4-FFF2-40B4-BE49-F238E27FC236}">
                <a16:creationId xmlns:a16="http://schemas.microsoft.com/office/drawing/2014/main" id="{843BC801-B252-487E-9A39-53F5EE73B1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4168" y="1698397"/>
            <a:ext cx="1614949" cy="1667985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800">
                <a:solidFill>
                  <a:srgbClr val="FFC300"/>
                </a:solidFill>
              </a:defRPr>
            </a:lvl1pPr>
          </a:lstStyle>
          <a:p>
            <a:endParaRPr lang="en-GB"/>
          </a:p>
          <a:p>
            <a:r>
              <a:rPr lang="en-GB"/>
              <a:t>Click icon to add pictur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F2551E41-23EA-4367-96C2-23A3A8C774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9140" y="4223334"/>
            <a:ext cx="3879527" cy="3088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i="1">
                <a:solidFill>
                  <a:srgbClr val="004962"/>
                </a:solidFill>
              </a:defRPr>
            </a:lvl1pPr>
          </a:lstStyle>
          <a:p>
            <a:pPr lvl="0"/>
            <a:r>
              <a:rPr lang="en-GB"/>
              <a:t>Insert Job 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28E37C98-0D86-475D-9B4A-85E9D211EE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32040" y="4531972"/>
            <a:ext cx="3879527" cy="308868"/>
          </a:xfrm>
        </p:spPr>
        <p:txBody>
          <a:bodyPr/>
          <a:lstStyle>
            <a:lvl1pPr algn="ctr">
              <a:buNone/>
              <a:defRPr lang="en-GB" sz="180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Company Name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4B5B83E-7436-4618-9AC7-95160FB7B1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0967" y="3773152"/>
            <a:ext cx="3530600" cy="398692"/>
          </a:xfrm>
        </p:spPr>
        <p:txBody>
          <a:bodyPr/>
          <a:lstStyle>
            <a:lvl1pPr algn="ctr">
              <a:buNone/>
              <a:defRPr sz="2000">
                <a:solidFill>
                  <a:srgbClr val="00496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NAME OF SPEAKER</a:t>
            </a:r>
            <a:endParaRPr lang="en-GB"/>
          </a:p>
          <a:p>
            <a:pPr lvl="0"/>
            <a:endParaRPr lang="en-GB"/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902FEC18-F471-49A5-B791-D386224F658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9086" y="4224304"/>
            <a:ext cx="3879527" cy="3088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i="1">
                <a:solidFill>
                  <a:srgbClr val="004962"/>
                </a:solidFill>
              </a:defRPr>
            </a:lvl1pPr>
          </a:lstStyle>
          <a:p>
            <a:pPr lvl="0"/>
            <a:r>
              <a:rPr lang="en-GB"/>
              <a:t>Insert Job 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72D9F962-0205-42DC-B298-A48566A29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9512" y="4528655"/>
            <a:ext cx="3879527" cy="308868"/>
          </a:xfrm>
        </p:spPr>
        <p:txBody>
          <a:bodyPr/>
          <a:lstStyle>
            <a:lvl1pPr algn="ctr">
              <a:buNone/>
              <a:defRPr lang="en-GB" sz="180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Company Name</a:t>
            </a:r>
          </a:p>
        </p:txBody>
      </p:sp>
      <p:sp>
        <p:nvSpPr>
          <p:cNvPr id="54" name="Text Placeholder 50">
            <a:extLst>
              <a:ext uri="{FF2B5EF4-FFF2-40B4-BE49-F238E27FC236}">
                <a16:creationId xmlns:a16="http://schemas.microsoft.com/office/drawing/2014/main" id="{2896824E-561A-4F05-BB13-29EC84A77D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8439" y="3769835"/>
            <a:ext cx="3530600" cy="398692"/>
          </a:xfrm>
        </p:spPr>
        <p:txBody>
          <a:bodyPr/>
          <a:lstStyle>
            <a:lvl1pPr algn="ctr">
              <a:buNone/>
              <a:defRPr sz="2000">
                <a:solidFill>
                  <a:srgbClr val="00496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NAME OF SPEAKER</a:t>
            </a:r>
            <a:endParaRPr lang="en-GB"/>
          </a:p>
          <a:p>
            <a:pPr lvl="0"/>
            <a:endParaRPr lang="en-GB"/>
          </a:p>
        </p:txBody>
      </p:sp>
      <p:sp>
        <p:nvSpPr>
          <p:cNvPr id="55" name="Text Placeholder 19">
            <a:extLst>
              <a:ext uri="{FF2B5EF4-FFF2-40B4-BE49-F238E27FC236}">
                <a16:creationId xmlns:a16="http://schemas.microsoft.com/office/drawing/2014/main" id="{5D42151F-B72F-458A-B23F-9C1C8AFDC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95922" y="2212074"/>
            <a:ext cx="1656225" cy="308868"/>
          </a:xfrm>
        </p:spPr>
        <p:txBody>
          <a:bodyPr>
            <a:normAutofit/>
          </a:bodyPr>
          <a:lstStyle>
            <a:lvl1pPr algn="ctr">
              <a:buNone/>
              <a:defRPr sz="2000">
                <a:solidFill>
                  <a:srgbClr val="004962"/>
                </a:solidFill>
              </a:defRPr>
            </a:lvl1pPr>
          </a:lstStyle>
          <a:p>
            <a:pPr lvl="0"/>
            <a:r>
              <a:rPr lang="en-GB"/>
              <a:t>INSERT #</a:t>
            </a:r>
          </a:p>
        </p:txBody>
      </p:sp>
    </p:spTree>
    <p:extLst>
      <p:ext uri="{BB962C8B-B14F-4D97-AF65-F5344CB8AC3E}">
        <p14:creationId xmlns:p14="http://schemas.microsoft.com/office/powerpoint/2010/main" val="184807099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and speak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7C98DBA-FF71-4AE2-A122-3F74A0895A1A}"/>
              </a:ext>
            </a:extLst>
          </p:cNvPr>
          <p:cNvSpPr/>
          <p:nvPr userDrawn="1"/>
        </p:nvSpPr>
        <p:spPr>
          <a:xfrm>
            <a:off x="0" y="2577927"/>
            <a:ext cx="9144000" cy="2578635"/>
          </a:xfrm>
          <a:prstGeom prst="rect">
            <a:avLst/>
          </a:prstGeom>
          <a:solidFill>
            <a:srgbClr val="FFC300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4" algn="l"/>
            <a:endParaRPr lang="nl-BE" sz="1600" b="0" i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002146B-6539-4FD1-AA70-39948158CEB8}"/>
              </a:ext>
            </a:extLst>
          </p:cNvPr>
          <p:cNvSpPr/>
          <p:nvPr userDrawn="1"/>
        </p:nvSpPr>
        <p:spPr>
          <a:xfrm>
            <a:off x="573416" y="1471549"/>
            <a:ext cx="1869173" cy="1869173"/>
          </a:xfrm>
          <a:prstGeom prst="ellipse">
            <a:avLst/>
          </a:prstGeom>
          <a:solidFill>
            <a:schemeClr val="bg1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 descr="A picture containing window&#10;&#10;Description automatically generated">
            <a:extLst>
              <a:ext uri="{FF2B5EF4-FFF2-40B4-BE49-F238E27FC236}">
                <a16:creationId xmlns:a16="http://schemas.microsoft.com/office/drawing/2014/main" id="{D9C6599B-8980-458D-B369-C3153F5931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35" y="1487774"/>
            <a:ext cx="1836724" cy="1836724"/>
          </a:xfrm>
          <a:prstGeom prst="rect">
            <a:avLst/>
          </a:prstGeom>
        </p:spPr>
      </p:pic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5ECA20A7-252A-4199-908B-BC75A5C753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12" y="272378"/>
            <a:ext cx="1656225" cy="308868"/>
          </a:xfrm>
        </p:spPr>
        <p:txBody>
          <a:bodyPr>
            <a:normAutofit/>
          </a:bodyPr>
          <a:lstStyle>
            <a:lvl1pPr algn="r">
              <a:buNone/>
              <a:defRPr sz="2000"/>
            </a:lvl1pPr>
          </a:lstStyle>
          <a:p>
            <a:pPr lvl="0"/>
            <a:r>
              <a:rPr lang="en-GB"/>
              <a:t>INSERT #</a:t>
            </a:r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20F35012-8CF0-40BD-8F99-5F48FACCF64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7444" y="1635647"/>
            <a:ext cx="1453378" cy="1501108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800">
                <a:solidFill>
                  <a:srgbClr val="FFC300"/>
                </a:solidFill>
              </a:defRPr>
            </a:lvl1pPr>
          </a:lstStyle>
          <a:p>
            <a:endParaRPr lang="en-GB"/>
          </a:p>
          <a:p>
            <a:r>
              <a:rPr lang="en-GB"/>
              <a:t>Click icon to add picture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6035D7D-01CA-4A41-AA5A-8F7D5184C3F5}"/>
              </a:ext>
            </a:extLst>
          </p:cNvPr>
          <p:cNvSpPr/>
          <p:nvPr userDrawn="1"/>
        </p:nvSpPr>
        <p:spPr>
          <a:xfrm>
            <a:off x="3626061" y="1477520"/>
            <a:ext cx="1869173" cy="1869173"/>
          </a:xfrm>
          <a:prstGeom prst="ellipse">
            <a:avLst/>
          </a:prstGeom>
          <a:solidFill>
            <a:schemeClr val="bg1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5" name="Picture 34" descr="A picture containing window&#10;&#10;Description automatically generated">
            <a:extLst>
              <a:ext uri="{FF2B5EF4-FFF2-40B4-BE49-F238E27FC236}">
                <a16:creationId xmlns:a16="http://schemas.microsoft.com/office/drawing/2014/main" id="{6D114F13-0DC0-4C4E-8C9B-0E28950F23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285" y="1493745"/>
            <a:ext cx="1836724" cy="1836724"/>
          </a:xfrm>
          <a:prstGeom prst="rect">
            <a:avLst/>
          </a:prstGeom>
        </p:spPr>
      </p:pic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34D1324-1310-4EB3-8785-19106F5B51D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70089" y="1641618"/>
            <a:ext cx="1453378" cy="1501108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800">
                <a:solidFill>
                  <a:srgbClr val="FFC300"/>
                </a:solidFill>
              </a:defRPr>
            </a:lvl1pPr>
          </a:lstStyle>
          <a:p>
            <a:endParaRPr lang="en-GB"/>
          </a:p>
          <a:p>
            <a:r>
              <a:rPr lang="en-GB"/>
              <a:t>Click icon to add picture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FC36FA5-4F3F-4B8C-874E-19A6CF0ECF49}"/>
              </a:ext>
            </a:extLst>
          </p:cNvPr>
          <p:cNvSpPr/>
          <p:nvPr userDrawn="1"/>
        </p:nvSpPr>
        <p:spPr>
          <a:xfrm>
            <a:off x="6679842" y="1487773"/>
            <a:ext cx="1869173" cy="1869173"/>
          </a:xfrm>
          <a:prstGeom prst="ellipse">
            <a:avLst/>
          </a:prstGeom>
          <a:solidFill>
            <a:schemeClr val="bg1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8" name="Picture 37" descr="A picture containing window&#10;&#10;Description automatically generated">
            <a:extLst>
              <a:ext uri="{FF2B5EF4-FFF2-40B4-BE49-F238E27FC236}">
                <a16:creationId xmlns:a16="http://schemas.microsoft.com/office/drawing/2014/main" id="{927B07E4-A5E3-4898-836A-9E36B537A2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066" y="1503998"/>
            <a:ext cx="1836724" cy="1836724"/>
          </a:xfrm>
          <a:prstGeom prst="rect">
            <a:avLst/>
          </a:prstGeom>
        </p:spPr>
      </p:pic>
      <p:sp>
        <p:nvSpPr>
          <p:cNvPr id="39" name="Picture Placeholder 14">
            <a:extLst>
              <a:ext uri="{FF2B5EF4-FFF2-40B4-BE49-F238E27FC236}">
                <a16:creationId xmlns:a16="http://schemas.microsoft.com/office/drawing/2014/main" id="{D21E56F2-325E-44F4-AC50-88112D52869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23870" y="1651871"/>
            <a:ext cx="1453378" cy="1501108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800">
                <a:solidFill>
                  <a:srgbClr val="FFC300"/>
                </a:solidFill>
              </a:defRPr>
            </a:lvl1pPr>
          </a:lstStyle>
          <a:p>
            <a:endParaRPr lang="en-GB"/>
          </a:p>
          <a:p>
            <a:r>
              <a:rPr lang="en-GB"/>
              <a:t>Click icon to add picture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92A198D5-860E-48EF-BE2A-05B47F717D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793" y="3918486"/>
            <a:ext cx="2655857" cy="3088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i="1">
                <a:solidFill>
                  <a:srgbClr val="004962"/>
                </a:solidFill>
              </a:defRPr>
            </a:lvl1pPr>
          </a:lstStyle>
          <a:p>
            <a:pPr lvl="0"/>
            <a:r>
              <a:rPr lang="en-GB"/>
              <a:t>Insert Job Titl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101E33F-1C2A-4BC7-856A-662853763C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849" y="4252315"/>
            <a:ext cx="2655857" cy="308868"/>
          </a:xfrm>
        </p:spPr>
        <p:txBody>
          <a:bodyPr>
            <a:noAutofit/>
          </a:bodyPr>
          <a:lstStyle>
            <a:lvl1pPr algn="ctr">
              <a:buNone/>
              <a:defRPr lang="en-GB" sz="160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Company Name</a:t>
            </a:r>
          </a:p>
        </p:txBody>
      </p:sp>
      <p:sp>
        <p:nvSpPr>
          <p:cNvPr id="42" name="Text Placeholder 50">
            <a:extLst>
              <a:ext uri="{FF2B5EF4-FFF2-40B4-BE49-F238E27FC236}">
                <a16:creationId xmlns:a16="http://schemas.microsoft.com/office/drawing/2014/main" id="{3B128F1A-83F2-4FB2-84C3-6AAD0C1E5A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5978" y="3494833"/>
            <a:ext cx="2655857" cy="308601"/>
          </a:xfrm>
        </p:spPr>
        <p:txBody>
          <a:bodyPr/>
          <a:lstStyle>
            <a:lvl1pPr algn="ctr">
              <a:buNone/>
              <a:defRPr sz="1800">
                <a:solidFill>
                  <a:srgbClr val="00496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NAME OF SPEAKER</a:t>
            </a:r>
            <a:endParaRPr lang="en-GB"/>
          </a:p>
          <a:p>
            <a:pPr lvl="0"/>
            <a:endParaRPr lang="en-GB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AC35C872-3CD5-4CE8-955C-10BA527636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44071" y="3914348"/>
            <a:ext cx="2655857" cy="3088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i="1">
                <a:solidFill>
                  <a:srgbClr val="004962"/>
                </a:solidFill>
              </a:defRPr>
            </a:lvl1pPr>
          </a:lstStyle>
          <a:p>
            <a:pPr lvl="0"/>
            <a:r>
              <a:rPr lang="en-GB"/>
              <a:t>Insert Job 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8901622E-620C-4EF4-9C4E-7DF0CD1DA5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4071" y="4253386"/>
            <a:ext cx="2655857" cy="308868"/>
          </a:xfrm>
        </p:spPr>
        <p:txBody>
          <a:bodyPr>
            <a:noAutofit/>
          </a:bodyPr>
          <a:lstStyle>
            <a:lvl1pPr algn="ctr">
              <a:buNone/>
              <a:defRPr lang="en-GB" sz="160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Company Name</a:t>
            </a:r>
          </a:p>
        </p:txBody>
      </p:sp>
      <p:sp>
        <p:nvSpPr>
          <p:cNvPr id="45" name="Text Placeholder 50">
            <a:extLst>
              <a:ext uri="{FF2B5EF4-FFF2-40B4-BE49-F238E27FC236}">
                <a16:creationId xmlns:a16="http://schemas.microsoft.com/office/drawing/2014/main" id="{720D4D82-E2F5-456A-83B1-D0E7815EC1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44071" y="3494566"/>
            <a:ext cx="2655857" cy="308868"/>
          </a:xfrm>
        </p:spPr>
        <p:txBody>
          <a:bodyPr/>
          <a:lstStyle>
            <a:lvl1pPr algn="ctr">
              <a:buNone/>
              <a:defRPr sz="1800">
                <a:solidFill>
                  <a:srgbClr val="00496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NAME OF SPEAKER</a:t>
            </a:r>
            <a:endParaRPr lang="en-GB"/>
          </a:p>
          <a:p>
            <a:pPr lvl="0"/>
            <a:endParaRPr lang="en-GB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3434061C-BAB7-4543-B4DE-BE6A51B2BD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00192" y="3923989"/>
            <a:ext cx="2655857" cy="3088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i="1">
                <a:solidFill>
                  <a:srgbClr val="004962"/>
                </a:solidFill>
              </a:defRPr>
            </a:lvl1pPr>
          </a:lstStyle>
          <a:p>
            <a:pPr lvl="0"/>
            <a:r>
              <a:rPr lang="en-GB"/>
              <a:t>Insert Job 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202BC835-A79C-4A46-B9E8-27939827A0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00192" y="4253386"/>
            <a:ext cx="2655857" cy="308868"/>
          </a:xfrm>
        </p:spPr>
        <p:txBody>
          <a:bodyPr>
            <a:noAutofit/>
          </a:bodyPr>
          <a:lstStyle>
            <a:lvl1pPr algn="ctr">
              <a:buNone/>
              <a:defRPr lang="en-GB" sz="160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Company Name</a:t>
            </a:r>
          </a:p>
        </p:txBody>
      </p:sp>
      <p:sp>
        <p:nvSpPr>
          <p:cNvPr id="48" name="Text Placeholder 50">
            <a:extLst>
              <a:ext uri="{FF2B5EF4-FFF2-40B4-BE49-F238E27FC236}">
                <a16:creationId xmlns:a16="http://schemas.microsoft.com/office/drawing/2014/main" id="{0EFF9057-5B5F-46BE-BC9A-AF6BD7DC0E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0192" y="3494566"/>
            <a:ext cx="2655857" cy="308868"/>
          </a:xfrm>
        </p:spPr>
        <p:txBody>
          <a:bodyPr/>
          <a:lstStyle>
            <a:lvl1pPr algn="ctr">
              <a:buNone/>
              <a:defRPr sz="1800">
                <a:solidFill>
                  <a:srgbClr val="00496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NAME OF SPEAKER</a:t>
            </a:r>
            <a:endParaRPr lang="en-GB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946553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773C586-2DEA-4A61-A151-5D94F32916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64088" y="1430261"/>
            <a:ext cx="3450791" cy="2255230"/>
          </a:xfrm>
          <a:prstGeom prst="rect">
            <a:avLst/>
          </a:prstGeom>
          <a:ln>
            <a:solidFill>
              <a:srgbClr val="FFC3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>
                <a:solidFill>
                  <a:srgbClr val="FFC300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8BD2BE-DFB8-44FD-BCF9-EB517C0F9C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9121" y="1440061"/>
            <a:ext cx="4890951" cy="2255230"/>
          </a:xfrm>
          <a:prstGeom prst="rect">
            <a:avLst/>
          </a:prstGeo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 lang="en-US" sz="1800" dirty="0">
                <a:solidFill>
                  <a:srgbClr val="024963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supporting tex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473370B-668C-40B8-9E8A-76D8D07D8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527" y="3795886"/>
            <a:ext cx="8491351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2EB4AC-2150-4079-B2A9-E1F53570019A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492E91EF-CCE1-47E1-9AFE-2FC51C3D6E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F8DB8D22-363C-4DAA-8A51-3DB7799DA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D5507A0-8DF0-4334-86E3-3320214D0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>
              <a:defRPr sz="1800" b="1">
                <a:solidFill>
                  <a:srgbClr val="FFC300"/>
                </a:solidFill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2658B80C-F975-425C-8EE8-081FB2C22F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</p:spTree>
    <p:extLst>
      <p:ext uri="{BB962C8B-B14F-4D97-AF65-F5344CB8AC3E}">
        <p14:creationId xmlns:p14="http://schemas.microsoft.com/office/powerpoint/2010/main" val="342448317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773C586-2DEA-4A61-A151-5D94F32916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510" y="1311015"/>
            <a:ext cx="4756546" cy="3132943"/>
          </a:xfrm>
          <a:prstGeom prst="rect">
            <a:avLst/>
          </a:prstGeom>
          <a:ln>
            <a:solidFill>
              <a:srgbClr val="0249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>
                <a:solidFill>
                  <a:srgbClr val="FFC300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8BD2BE-DFB8-44FD-BCF9-EB517C0F9C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96100" y="1527634"/>
            <a:ext cx="3528390" cy="2088232"/>
          </a:xfrm>
          <a:prstGeom prst="rect">
            <a:avLst/>
          </a:prstGeo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 lang="en-US" sz="1800" dirty="0">
                <a:solidFill>
                  <a:srgbClr val="024963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supporting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F9757-B204-4CD3-8E00-CC2612C33C25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97C3470-FCC7-48CD-94FD-9301A6807FE6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8C9F1C27-813E-4A1D-A697-4A217A799D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C06258BD-8B03-49E4-9FCB-9D7A93C986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1D81B643-15E5-44C5-97A5-9E1F29CAF8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D7C3B18-C570-4E39-9FC4-111CD7B97A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6488" y="3795886"/>
            <a:ext cx="3528390" cy="288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</p:spTree>
    <p:extLst>
      <p:ext uri="{BB962C8B-B14F-4D97-AF65-F5344CB8AC3E}">
        <p14:creationId xmlns:p14="http://schemas.microsoft.com/office/powerpoint/2010/main" val="37800268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10703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8BECD69-7198-41D8-902F-6208B20C0F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3582" y="3756952"/>
            <a:ext cx="8491351" cy="4524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4D2867-0ADA-4F05-89E5-4732A1C62E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712" y="1285658"/>
            <a:ext cx="5472608" cy="2303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Click icon to insert video, photo, SmartArt, table, etc.</a:t>
            </a:r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8D4FC67E-A1E1-4F3A-A8F1-328EF37B4E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0FB8A09-DFEC-446A-A504-DC093FD1FF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E05BCDF-B797-475E-A00D-FB2D41CB5567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DFDAB2C-67A9-4381-A2E6-D3D35844D569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8400F3CD-85A8-4A7B-A29A-EC716A5BB8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</p:spTree>
    <p:extLst>
      <p:ext uri="{BB962C8B-B14F-4D97-AF65-F5344CB8AC3E}">
        <p14:creationId xmlns:p14="http://schemas.microsoft.com/office/powerpoint/2010/main" val="411415962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9757569-D2E1-4661-9900-469F432193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536" y="1635646"/>
            <a:ext cx="8419342" cy="1656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24963"/>
                </a:solidFill>
              </a:defRPr>
            </a:lvl1pPr>
            <a:lvl2pPr>
              <a:defRPr>
                <a:solidFill>
                  <a:srgbClr val="FFC300"/>
                </a:solidFill>
              </a:defRPr>
            </a:lvl2pPr>
            <a:lvl3pPr>
              <a:defRPr>
                <a:solidFill>
                  <a:srgbClr val="FFC300"/>
                </a:solidFill>
              </a:defRPr>
            </a:lvl3pPr>
          </a:lstStyle>
          <a:p>
            <a:pPr lvl="0"/>
            <a:r>
              <a:rPr lang="en-US"/>
              <a:t>Insert your text</a:t>
            </a:r>
          </a:p>
          <a:p>
            <a:pPr lvl="1"/>
            <a:r>
              <a:rPr lang="en-US"/>
              <a:t>Insert your text</a:t>
            </a:r>
          </a:p>
          <a:p>
            <a:pPr lvl="2"/>
            <a:r>
              <a:rPr lang="en-US"/>
              <a:t>Insert your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799E13-3944-424C-BE3E-D364D7BE9A3C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EB1E117-4D5F-4D87-8B36-95BAC44D2BEB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A5B3135B-EDAB-479E-9FA1-0D08FC70C8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8265B11D-9541-4C4A-8FA3-02915A39F4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593960D2-61AF-441B-99E5-902725DDD2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5715706-1AC8-47B8-B9F6-001DE8991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5537" y="3554847"/>
            <a:ext cx="8419342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</p:spTree>
    <p:extLst>
      <p:ext uri="{BB962C8B-B14F-4D97-AF65-F5344CB8AC3E}">
        <p14:creationId xmlns:p14="http://schemas.microsoft.com/office/powerpoint/2010/main" val="221233114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0F62A9A-6517-496D-A7F4-5AAEF13652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528" y="1635646"/>
            <a:ext cx="3882838" cy="180020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/>
              <a:t>Insert your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562074-EEB4-4315-B298-2E36BA48C807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30DD044-238C-412D-B258-7715EF8C2916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7B6167B3-9E37-41CB-AAC1-3DF58F5698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1AA6F34-3CD2-4222-9BA9-3A72FA6180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2040" y="1635646"/>
            <a:ext cx="3882838" cy="180020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/>
              <a:t>Insert your text</a:t>
            </a:r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5AB48A2E-3243-4C38-BA44-9A5E377D64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43F0F20C-DF2E-4650-84BC-6080CFABD0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B818744-C40F-4F93-ADF8-D86271743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527" y="3723878"/>
            <a:ext cx="3882838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140C3ED-4024-48D3-B3A0-027BE2B6AF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32040" y="3723878"/>
            <a:ext cx="3882838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</p:spTree>
    <p:extLst>
      <p:ext uri="{BB962C8B-B14F-4D97-AF65-F5344CB8AC3E}">
        <p14:creationId xmlns:p14="http://schemas.microsoft.com/office/powerpoint/2010/main" val="348338926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martArt Placeholder 10">
            <a:extLst>
              <a:ext uri="{FF2B5EF4-FFF2-40B4-BE49-F238E27FC236}">
                <a16:creationId xmlns:a16="http://schemas.microsoft.com/office/drawing/2014/main" id="{02CFD4F2-7FBD-4167-9362-435B57CA1E83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827584" y="1326867"/>
            <a:ext cx="7488832" cy="21089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insert SmartArt graphi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E3DDEF-7847-4408-A431-2049D22F944B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E419356-9759-4D73-91AF-1777A99D1510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A642F154-15D9-418C-9DB8-40E82DECBC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98E1FA54-CA61-4A4A-A454-5C6CB4544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17E8152D-63B0-4F89-A2A2-125952A4E1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BE3462F-0C78-4657-BDF2-809FE8C8B6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527" y="3521429"/>
            <a:ext cx="8491351" cy="3600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</p:spTree>
    <p:extLst>
      <p:ext uri="{BB962C8B-B14F-4D97-AF65-F5344CB8AC3E}">
        <p14:creationId xmlns:p14="http://schemas.microsoft.com/office/powerpoint/2010/main" val="36424929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and Technic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F11528-43BE-4D63-976E-5644B9CCD9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528" y="1635646"/>
            <a:ext cx="8491350" cy="22322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technical details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049BB9-BD33-4EFC-90AC-A52524C28DA3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F941763-BECF-4071-9905-53FF2ECE24B9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echnical Details</a:t>
            </a:r>
            <a:endParaRPr lang="en-GB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9EC8F0D3-E9F3-4CE3-9F3F-71E95344D8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Q&amp;A Session</a:t>
            </a:r>
          </a:p>
        </p:txBody>
      </p:sp>
      <p:pic>
        <p:nvPicPr>
          <p:cNvPr id="3" name="Picture 2" descr="A close up of a screen&#10;&#10;Description automatically generated">
            <a:extLst>
              <a:ext uri="{FF2B5EF4-FFF2-40B4-BE49-F238E27FC236}">
                <a16:creationId xmlns:a16="http://schemas.microsoft.com/office/drawing/2014/main" id="{3D713DAF-0423-4337-92CE-30D3046C45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F5DBFFFF-39C0-4088-9995-4A08E0E2B4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69946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coming ev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A6F8EE6-10EF-444E-8B30-AC4C3B547485}"/>
              </a:ext>
            </a:extLst>
          </p:cNvPr>
          <p:cNvSpPr/>
          <p:nvPr userDrawn="1"/>
        </p:nvSpPr>
        <p:spPr>
          <a:xfrm>
            <a:off x="730888" y="2283719"/>
            <a:ext cx="2112920" cy="64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DF1102C-61B3-4898-A9A8-C8EFFF7C71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520" y="1319530"/>
            <a:ext cx="2880320" cy="3444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session title</a:t>
            </a:r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887E1E-64AB-4EDF-B705-8E166A8DFC88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C9F6F17-EF62-45E5-A270-9A7610123815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SSIONS NOT TO MISS OUT 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19E88589-4AC3-450D-9915-E20627F7A4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US"/>
              <a:t>What’s C</a:t>
            </a:r>
            <a:r>
              <a:rPr lang="en-GB" err="1"/>
              <a:t>oming</a:t>
            </a:r>
            <a:r>
              <a:rPr lang="en-GB"/>
              <a:t> Up Next in INSERT TOPIC ?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186B60F-37B8-45E5-8E64-C8307CD091D9}"/>
              </a:ext>
            </a:extLst>
          </p:cNvPr>
          <p:cNvCxnSpPr/>
          <p:nvPr userDrawn="1"/>
        </p:nvCxnSpPr>
        <p:spPr>
          <a:xfrm>
            <a:off x="0" y="2715766"/>
            <a:ext cx="9144000" cy="0"/>
          </a:xfrm>
          <a:prstGeom prst="line">
            <a:avLst/>
          </a:prstGeom>
          <a:ln w="76200">
            <a:solidFill>
              <a:srgbClr val="FFC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2EAFF83-9548-4A08-9E78-1FF765394C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520" y="2075488"/>
            <a:ext cx="3168352" cy="344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rgbClr val="FFC300"/>
                </a:solidFill>
              </a:defRPr>
            </a:lvl1pPr>
          </a:lstStyle>
          <a:p>
            <a:pPr lvl="0"/>
            <a:r>
              <a:rPr lang="en-US" sz="1800"/>
              <a:t>2</a:t>
            </a:r>
            <a:r>
              <a:rPr lang="en-GB" sz="1800"/>
              <a:t>6 OCTOBER, 15:30 -17:00 CET</a:t>
            </a:r>
            <a:endParaRPr lang="en-GB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0A49863-7003-44E6-9863-72E3F00032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1520" y="1693954"/>
            <a:ext cx="2880320" cy="344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FORMAT (PLENARY/ EU RT/N RT)</a:t>
            </a:r>
            <a:endParaRPr lang="en-GB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32DD52FD-1B94-4F98-984D-FE54918599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59632" y="3184527"/>
            <a:ext cx="2880320" cy="3444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session title</a:t>
            </a:r>
            <a:endParaRPr lang="en-GB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85CBCC28-C3E6-4CEE-B53B-FA5A3B88A4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59632" y="3940485"/>
            <a:ext cx="3168352" cy="344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rgbClr val="FFC300"/>
                </a:solidFill>
              </a:defRPr>
            </a:lvl1pPr>
          </a:lstStyle>
          <a:p>
            <a:pPr lvl="0"/>
            <a:r>
              <a:rPr lang="en-US" sz="1800"/>
              <a:t>2</a:t>
            </a:r>
            <a:r>
              <a:rPr lang="en-GB" sz="1800"/>
              <a:t>6 OCTOBER, 15:30 -17:00 CET</a:t>
            </a:r>
            <a:endParaRPr lang="en-GB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83ACDF12-A529-4F5A-A426-3952E937FD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59632" y="3558951"/>
            <a:ext cx="2880320" cy="344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FORMAT (PLENARY/ EU RT/N RT)</a:t>
            </a:r>
            <a:endParaRPr lang="en-GB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C561B062-F844-419E-848A-FA00EFB758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4983" y="3184527"/>
            <a:ext cx="2880320" cy="3444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session title</a:t>
            </a:r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FD843CA0-9B97-4D83-9B55-0C909B9D501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4983" y="3940485"/>
            <a:ext cx="3168352" cy="344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rgbClr val="FFC300"/>
                </a:solidFill>
              </a:defRPr>
            </a:lvl1pPr>
          </a:lstStyle>
          <a:p>
            <a:pPr lvl="0"/>
            <a:r>
              <a:rPr lang="en-US" sz="1800"/>
              <a:t>2</a:t>
            </a:r>
            <a:r>
              <a:rPr lang="en-GB" sz="1800"/>
              <a:t>6 OCTOBER, 15:30 -17:00 CET</a:t>
            </a:r>
            <a:endParaRPr lang="en-GB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676FD7B7-A667-40EE-B90C-5DC9DCF80FF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64983" y="3558951"/>
            <a:ext cx="2880320" cy="344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FORMAT (PLENARY/ EU RT/N RT)</a:t>
            </a:r>
            <a:endParaRPr lang="en-GB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AFE58494-40B9-4DCA-81FD-00C1C2ED3D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0" y="1295237"/>
            <a:ext cx="2880320" cy="3444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session title</a:t>
            </a:r>
            <a:endParaRPr lang="en-GB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3840D4BC-4C89-442E-9DB6-1B44899CB1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2000" y="2051195"/>
            <a:ext cx="3168352" cy="344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rgbClr val="FFC300"/>
                </a:solidFill>
              </a:defRPr>
            </a:lvl1pPr>
          </a:lstStyle>
          <a:p>
            <a:pPr lvl="0"/>
            <a:r>
              <a:rPr lang="en-US" sz="1800"/>
              <a:t>2</a:t>
            </a:r>
            <a:r>
              <a:rPr lang="en-GB" sz="1800"/>
              <a:t>6 OCTOBER, 15:30 -17:00 CET</a:t>
            </a:r>
            <a:endParaRPr lang="en-GB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C0BAAD7-4DF4-48F6-9920-5A8C0BBAF08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0" y="1669661"/>
            <a:ext cx="2880320" cy="344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 sz="1800"/>
              <a:t>INSERT FORMAT (PLENARY/ EU RT/N RT)</a:t>
            </a:r>
            <a:endParaRPr lang="en-GB"/>
          </a:p>
        </p:txBody>
      </p:sp>
      <p:pic>
        <p:nvPicPr>
          <p:cNvPr id="8" name="Picture 7" descr="A close up of a screen&#10;&#10;Description automatically generated">
            <a:extLst>
              <a:ext uri="{FF2B5EF4-FFF2-40B4-BE49-F238E27FC236}">
                <a16:creationId xmlns:a16="http://schemas.microsoft.com/office/drawing/2014/main" id="{C351AA8B-334E-4ED7-9C78-ADA92510D6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4B9EBA1-C8E7-4D65-806E-D5D8AF103E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07708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B3FEDB7-50AE-41AD-8B9F-BE6E72D9D328}"/>
              </a:ext>
            </a:extLst>
          </p:cNvPr>
          <p:cNvSpPr/>
          <p:nvPr userDrawn="1"/>
        </p:nvSpPr>
        <p:spPr>
          <a:xfrm>
            <a:off x="0" y="1728303"/>
            <a:ext cx="9144000" cy="2787663"/>
          </a:xfrm>
          <a:prstGeom prst="rect">
            <a:avLst/>
          </a:prstGeom>
          <a:solidFill>
            <a:srgbClr val="FFC300"/>
          </a:solidFill>
          <a:ln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5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1AA59-316B-4306-AF19-1A7D944AC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0843" y="2248840"/>
            <a:ext cx="6858000" cy="594056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 for joining us today!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47ADCF-C69D-42CC-8515-E7256CA34A4D}"/>
              </a:ext>
            </a:extLst>
          </p:cNvPr>
          <p:cNvSpPr/>
          <p:nvPr userDrawn="1"/>
        </p:nvSpPr>
        <p:spPr>
          <a:xfrm>
            <a:off x="251519" y="195486"/>
            <a:ext cx="6259507" cy="10828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lose up of a screen&#10;&#10;Description automatically generated">
            <a:extLst>
              <a:ext uri="{FF2B5EF4-FFF2-40B4-BE49-F238E27FC236}">
                <a16:creationId xmlns:a16="http://schemas.microsoft.com/office/drawing/2014/main" id="{686C46E5-A557-41FD-BBF3-B75DEA2BA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7" t="17694" r="2351" b="29291"/>
          <a:stretch/>
        </p:blipFill>
        <p:spPr>
          <a:xfrm>
            <a:off x="1734113" y="270778"/>
            <a:ext cx="6299520" cy="11114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9CD2EE1-E3C0-41D9-959B-DFBF4E161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10" r="-2010"/>
          <a:stretch/>
        </p:blipFill>
        <p:spPr>
          <a:xfrm>
            <a:off x="251519" y="427093"/>
            <a:ext cx="1348387" cy="856335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F039B1C1-55E7-4CFA-AEF4-4B2F7229FC1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843" y="339502"/>
            <a:ext cx="612105" cy="562256"/>
          </a:xfrm>
          <a:prstGeom prst="rect">
            <a:avLst/>
          </a:prstGeom>
        </p:spPr>
      </p:pic>
      <p:sp>
        <p:nvSpPr>
          <p:cNvPr id="11" name="Rectangle 39">
            <a:extLst>
              <a:ext uri="{FF2B5EF4-FFF2-40B4-BE49-F238E27FC236}">
                <a16:creationId xmlns:a16="http://schemas.microsoft.com/office/drawing/2014/main" id="{93693077-68E5-44A6-B492-D8E95D8E38A4}"/>
              </a:ext>
            </a:extLst>
          </p:cNvPr>
          <p:cNvSpPr/>
          <p:nvPr userDrawn="1"/>
        </p:nvSpPr>
        <p:spPr>
          <a:xfrm>
            <a:off x="-36512" y="1297880"/>
            <a:ext cx="9377496" cy="424352"/>
          </a:xfrm>
          <a:custGeom>
            <a:avLst/>
            <a:gdLst>
              <a:gd name="connsiteX0" fmla="*/ 0 w 9144000"/>
              <a:gd name="connsiteY0" fmla="*/ 0 h 914400"/>
              <a:gd name="connsiteX1" fmla="*/ 9144000 w 9144000"/>
              <a:gd name="connsiteY1" fmla="*/ 0 h 914400"/>
              <a:gd name="connsiteX2" fmla="*/ 9144000 w 9144000"/>
              <a:gd name="connsiteY2" fmla="*/ 914400 h 914400"/>
              <a:gd name="connsiteX3" fmla="*/ 0 w 9144000"/>
              <a:gd name="connsiteY3" fmla="*/ 914400 h 914400"/>
              <a:gd name="connsiteX4" fmla="*/ 0 w 9144000"/>
              <a:gd name="connsiteY4" fmla="*/ 0 h 914400"/>
              <a:gd name="connsiteX0" fmla="*/ 0 w 9163878"/>
              <a:gd name="connsiteY0" fmla="*/ 894521 h 914400"/>
              <a:gd name="connsiteX1" fmla="*/ 9163878 w 9163878"/>
              <a:gd name="connsiteY1" fmla="*/ 0 h 914400"/>
              <a:gd name="connsiteX2" fmla="*/ 9163878 w 9163878"/>
              <a:gd name="connsiteY2" fmla="*/ 914400 h 914400"/>
              <a:gd name="connsiteX3" fmla="*/ 19878 w 9163878"/>
              <a:gd name="connsiteY3" fmla="*/ 914400 h 914400"/>
              <a:gd name="connsiteX4" fmla="*/ 0 w 9163878"/>
              <a:gd name="connsiteY4" fmla="*/ 894521 h 914400"/>
              <a:gd name="connsiteX0" fmla="*/ 0 w 9163878"/>
              <a:gd name="connsiteY0" fmla="*/ 384313 h 404192"/>
              <a:gd name="connsiteX1" fmla="*/ 9144000 w 9163878"/>
              <a:gd name="connsiteY1" fmla="*/ 0 h 404192"/>
              <a:gd name="connsiteX2" fmla="*/ 9163878 w 9163878"/>
              <a:gd name="connsiteY2" fmla="*/ 404192 h 404192"/>
              <a:gd name="connsiteX3" fmla="*/ 19878 w 9163878"/>
              <a:gd name="connsiteY3" fmla="*/ 404192 h 404192"/>
              <a:gd name="connsiteX4" fmla="*/ 0 w 9163878"/>
              <a:gd name="connsiteY4" fmla="*/ 384313 h 40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63878" h="404192">
                <a:moveTo>
                  <a:pt x="0" y="384313"/>
                </a:moveTo>
                <a:lnTo>
                  <a:pt x="9144000" y="0"/>
                </a:lnTo>
                <a:lnTo>
                  <a:pt x="9163878" y="404192"/>
                </a:lnTo>
                <a:lnTo>
                  <a:pt x="19878" y="404192"/>
                </a:lnTo>
                <a:lnTo>
                  <a:pt x="0" y="384313"/>
                </a:lnTo>
                <a:close/>
              </a:path>
            </a:pathLst>
          </a:custGeom>
          <a:solidFill>
            <a:srgbClr val="004962"/>
          </a:solidFill>
          <a:ln>
            <a:solidFill>
              <a:srgbClr val="0249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C2EA73B-0FD0-4CCB-BAB0-C7031ED2EAEE}"/>
              </a:ext>
            </a:extLst>
          </p:cNvPr>
          <p:cNvSpPr/>
          <p:nvPr userDrawn="1"/>
        </p:nvSpPr>
        <p:spPr>
          <a:xfrm>
            <a:off x="0" y="4515966"/>
            <a:ext cx="9144000" cy="6275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DB95EE-3A12-4CF8-A2B1-C75C494F9B44}"/>
              </a:ext>
            </a:extLst>
          </p:cNvPr>
          <p:cNvSpPr txBox="1"/>
          <p:nvPr userDrawn="1"/>
        </p:nvSpPr>
        <p:spPr>
          <a:xfrm>
            <a:off x="226799" y="4744896"/>
            <a:ext cx="2151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solidFill>
                  <a:srgbClr val="024963"/>
                </a:solidFill>
              </a:rPr>
              <a:t>THANKS TO THE SUPPORT OF</a:t>
            </a:r>
            <a:r>
              <a:rPr lang="en-GB" sz="1200">
                <a:solidFill>
                  <a:srgbClr val="024963"/>
                </a:solidFill>
              </a:rPr>
              <a:t>: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647517F-C4F1-4E84-93E2-E8EF72BA93FD}"/>
              </a:ext>
            </a:extLst>
          </p:cNvPr>
          <p:cNvGrpSpPr/>
          <p:nvPr userDrawn="1"/>
        </p:nvGrpSpPr>
        <p:grpSpPr>
          <a:xfrm>
            <a:off x="2305120" y="4637045"/>
            <a:ext cx="4533759" cy="398867"/>
            <a:chOff x="2237060" y="4669026"/>
            <a:chExt cx="4533759" cy="398867"/>
          </a:xfrm>
        </p:grpSpPr>
        <p:pic>
          <p:nvPicPr>
            <p:cNvPr id="32" name="Picture 31" descr="Logo&#10;&#10;Description automatically generated">
              <a:extLst>
                <a:ext uri="{FF2B5EF4-FFF2-40B4-BE49-F238E27FC236}">
                  <a16:creationId xmlns:a16="http://schemas.microsoft.com/office/drawing/2014/main" id="{B7FD9F45-8DD7-4CD0-80F3-96D3D2ED04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7060" y="4669026"/>
              <a:ext cx="1106882" cy="398867"/>
            </a:xfrm>
            <a:prstGeom prst="rect">
              <a:avLst/>
            </a:prstGeom>
          </p:spPr>
        </p:pic>
        <p:pic>
          <p:nvPicPr>
            <p:cNvPr id="33" name="Picture 32" descr="Logo, company name&#10;&#10;Description automatically generated">
              <a:extLst>
                <a:ext uri="{FF2B5EF4-FFF2-40B4-BE49-F238E27FC236}">
                  <a16:creationId xmlns:a16="http://schemas.microsoft.com/office/drawing/2014/main" id="{41175800-AC13-4903-AD49-4007F19D804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108" b="33577"/>
            <a:stretch/>
          </p:blipFill>
          <p:spPr>
            <a:xfrm>
              <a:off x="5502767" y="4723414"/>
              <a:ext cx="1268052" cy="290091"/>
            </a:xfrm>
            <a:prstGeom prst="rect">
              <a:avLst/>
            </a:prstGeom>
          </p:spPr>
        </p:pic>
        <p:pic>
          <p:nvPicPr>
            <p:cNvPr id="34" name="Picture 3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B73721B-3676-45D2-92BF-D5A12B8151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61" r="1117" b="1347"/>
            <a:stretch/>
          </p:blipFill>
          <p:spPr>
            <a:xfrm>
              <a:off x="3779913" y="4679910"/>
              <a:ext cx="1286882" cy="377099"/>
            </a:xfrm>
            <a:prstGeom prst="rect">
              <a:avLst/>
            </a:prstGeom>
          </p:spPr>
        </p:pic>
      </p:grpSp>
      <p:sp>
        <p:nvSpPr>
          <p:cNvPr id="35" name="Subtitle 2">
            <a:extLst>
              <a:ext uri="{FF2B5EF4-FFF2-40B4-BE49-F238E27FC236}">
                <a16:creationId xmlns:a16="http://schemas.microsoft.com/office/drawing/2014/main" id="{E36A0386-6830-4CEE-AD32-80E51EBDC0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16345" y="3672998"/>
            <a:ext cx="6871781" cy="3552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rgbClr val="00496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#SDGSummit2020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7152E13-53C6-45C8-9FD2-5E56E1EB644C}"/>
              </a:ext>
            </a:extLst>
          </p:cNvPr>
          <p:cNvSpPr txBox="1">
            <a:spLocks/>
          </p:cNvSpPr>
          <p:nvPr userDrawn="1"/>
        </p:nvSpPr>
        <p:spPr>
          <a:xfrm>
            <a:off x="1280844" y="3147814"/>
            <a:ext cx="6871782" cy="355262"/>
          </a:xfrm>
          <a:prstGeom prst="rect">
            <a:avLst/>
          </a:prstGeom>
        </p:spPr>
        <p:txBody>
          <a:bodyPr anchor="b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/>
              <a:t>For more information: Please contact,  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412449061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P (vaalea pohj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59A811-D685-6F4A-AEF4-7D78E6B51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200" y="4868100"/>
            <a:ext cx="721888" cy="1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24773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P (tumma pohja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40DC61-7EEF-9645-9B9C-3EEE1AD26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0578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otsikko +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29D1CE-82CA-EB46-B6CB-E493D3FAED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200" y="4868100"/>
            <a:ext cx="721888" cy="13586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F747C22-ACFC-6443-ADB2-6B11DC6F2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1766" y="411956"/>
            <a:ext cx="7560470" cy="4319588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algn="ctr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Iso otsikko + VP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1331ACB-46F7-824E-8ABE-5A6FB6D001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682" y="4740877"/>
            <a:ext cx="1079599" cy="252797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350"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dirty="0"/>
              <a:t>pvm</a:t>
            </a:r>
          </a:p>
        </p:txBody>
      </p:sp>
    </p:spTree>
    <p:extLst>
      <p:ext uri="{BB962C8B-B14F-4D97-AF65-F5344CB8AC3E}">
        <p14:creationId xmlns:p14="http://schemas.microsoft.com/office/powerpoint/2010/main" val="25675876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8312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otsikko +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40DC61-7EEF-9645-9B9C-3EEE1AD26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CF2E1BD-1EBD-D043-8547-BA8227972E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682" y="4740877"/>
            <a:ext cx="1079599" cy="252797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dirty="0"/>
              <a:t>pvm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E19239D-E354-5F42-AE45-A180ED0841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1766" y="411956"/>
            <a:ext cx="7560470" cy="4319588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algn="ctr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Iso otsikko + T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34103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otsikko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29D1CE-82CA-EB46-B6CB-E493D3FAED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200" y="4868100"/>
            <a:ext cx="721888" cy="13586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F747C22-ACFC-6443-ADB2-6B11DC6F2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1766" y="2059855"/>
            <a:ext cx="7560470" cy="511895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405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erusotsikko + VP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ECB3038-49B4-004B-B993-7B487852FE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1766" y="2751931"/>
            <a:ext cx="7560469" cy="36036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1331ACB-46F7-824E-8ABE-5A6FB6D001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682" y="4740877"/>
            <a:ext cx="1079599" cy="252797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350"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dirty="0"/>
              <a:t>pvm</a:t>
            </a:r>
          </a:p>
        </p:txBody>
      </p:sp>
    </p:spTree>
    <p:extLst>
      <p:ext uri="{BB962C8B-B14F-4D97-AF65-F5344CB8AC3E}">
        <p14:creationId xmlns:p14="http://schemas.microsoft.com/office/powerpoint/2010/main" val="349768336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otsikko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91766" y="2059855"/>
            <a:ext cx="7560470" cy="511895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40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erusotsikko + TP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91766" y="2751931"/>
            <a:ext cx="7560469" cy="36036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40DC61-7EEF-9645-9B9C-3EEE1AD26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CF2E1BD-1EBD-D043-8547-BA8227972E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682" y="4740877"/>
            <a:ext cx="1079599" cy="252797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dirty="0"/>
              <a:t>pvm</a:t>
            </a:r>
          </a:p>
        </p:txBody>
      </p:sp>
    </p:spTree>
    <p:extLst>
      <p:ext uri="{BB962C8B-B14F-4D97-AF65-F5344CB8AC3E}">
        <p14:creationId xmlns:p14="http://schemas.microsoft.com/office/powerpoint/2010/main" val="34370615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1767" y="1563152"/>
            <a:ext cx="7560468" cy="1224136"/>
          </a:xfrm>
          <a:prstGeom prst="rect">
            <a:avLst/>
          </a:prstGeom>
        </p:spPr>
        <p:txBody>
          <a:bodyPr bIns="140400" anchor="b" anchorCtr="0"/>
          <a:lstStyle>
            <a:lvl1pPr algn="ctr">
              <a:defRPr sz="3000" cap="none"/>
            </a:lvl1pPr>
          </a:lstStyle>
          <a:p>
            <a:r>
              <a:rPr lang="fi-FI" dirty="0"/>
              <a:t>Väliotsikko + VP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91767" y="2896032"/>
            <a:ext cx="7560468" cy="431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7B64EB-9373-B24F-A3F8-8860C5C84A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1" y="4867275"/>
            <a:ext cx="721888" cy="1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32774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1767" y="1563152"/>
            <a:ext cx="7560468" cy="1224136"/>
          </a:xfrm>
          <a:prstGeom prst="rect">
            <a:avLst/>
          </a:prstGeom>
        </p:spPr>
        <p:txBody>
          <a:bodyPr bIns="140400" anchor="b" anchorCtr="0"/>
          <a:lstStyle>
            <a:lvl1pPr algn="ctr">
              <a:defRPr sz="3000" cap="none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 + TP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91767" y="2896032"/>
            <a:ext cx="7560468" cy="431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3495C6-4304-4E4A-97C2-9350558AA2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72885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sivu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1767" y="411956"/>
            <a:ext cx="7560468" cy="864096"/>
          </a:xfrm>
          <a:prstGeom prst="rect">
            <a:avLst/>
          </a:prstGeom>
        </p:spPr>
        <p:txBody>
          <a:bodyPr/>
          <a:lstStyle>
            <a:lvl1pPr algn="l">
              <a:defRPr sz="2400"/>
            </a:lvl1pPr>
          </a:lstStyle>
          <a:p>
            <a:r>
              <a:rPr lang="fi-FI" dirty="0"/>
              <a:t>Tekstikalvo + VP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91767" y="1275606"/>
            <a:ext cx="7560468" cy="3240360"/>
          </a:xfrm>
          <a:prstGeom prst="rect">
            <a:avLst/>
          </a:prstGeo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591" indent="-176209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75" indent="-176209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6209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FBC4A8-05F8-5843-9AE4-11FC19955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1" y="4867275"/>
            <a:ext cx="721888" cy="1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82359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sivu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91767" y="411956"/>
            <a:ext cx="7560468" cy="86409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Tekstikalvo + TP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791767" y="1275606"/>
            <a:ext cx="7560468" cy="3240360"/>
          </a:xfrm>
          <a:prstGeom prst="rect">
            <a:avLst/>
          </a:prstGeo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4FCB64-D060-9148-BFDB-5C606D863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46483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i-fifti (musta lukitt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FBD2C0-8EAE-6F49-80B2-BFD76295107D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386954" y="411510"/>
            <a:ext cx="3644503" cy="108034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100" b="1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dirty="0" err="1"/>
              <a:t>Fifti</a:t>
            </a:r>
            <a:r>
              <a:rPr lang="fi-FI" dirty="0"/>
              <a:t> otsikko mustalla taust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386954" y="1491853"/>
            <a:ext cx="3644503" cy="3240137"/>
          </a:xfrm>
          <a:prstGeom prst="rect">
            <a:avLst/>
          </a:prstGeo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112544" y="411512"/>
            <a:ext cx="3644503" cy="10803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1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dirty="0" err="1"/>
              <a:t>Fifti</a:t>
            </a:r>
            <a:r>
              <a:rPr lang="fi-FI" dirty="0"/>
              <a:t> otsikko vaalealla taustall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B3CB5C-22E9-4042-92EE-7C27EA358E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1" y="4867275"/>
            <a:ext cx="721888" cy="135866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7F9C5A6-7052-CE41-8D32-DE7769D502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12061" y="1491853"/>
            <a:ext cx="3644987" cy="3240137"/>
          </a:xfrm>
          <a:prstGeom prst="rect">
            <a:avLst/>
          </a:prstGeo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312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iti-fifti 2 (musta lukitt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7A240A0-EC0C-F849-919E-726CBE055A36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6954" y="411511"/>
            <a:ext cx="3644503" cy="93610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1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386954" y="1491853"/>
            <a:ext cx="3644503" cy="3240137"/>
          </a:xfrm>
          <a:prstGeom prst="rect">
            <a:avLst/>
          </a:prstGeo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CF7963-2318-CC45-A900-02136CBD6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  <p:sp>
        <p:nvSpPr>
          <p:cNvPr id="12" name="Tekstin paikkamerkki 6">
            <a:extLst>
              <a:ext uri="{FF2B5EF4-FFF2-40B4-BE49-F238E27FC236}">
                <a16:creationId xmlns:a16="http://schemas.microsoft.com/office/drawing/2014/main" id="{1961626C-30E4-2049-AE46-DD755FE5AE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12061" y="411511"/>
            <a:ext cx="3644987" cy="93610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100" b="1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C0B2B0D-7643-4340-BA07-93F51A1FD7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12061" y="1491853"/>
            <a:ext cx="3644987" cy="3240137"/>
          </a:xfrm>
          <a:prstGeom prst="rect">
            <a:avLst/>
          </a:prstGeo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94743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766" y="411511"/>
            <a:ext cx="7560469" cy="808773"/>
          </a:xfrm>
          <a:prstGeom prst="rect">
            <a:avLst/>
          </a:prstGeo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331854" y="1203822"/>
            <a:ext cx="7020381" cy="57606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331120" y="1880013"/>
            <a:ext cx="7021116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331854" y="2554939"/>
            <a:ext cx="7020381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331119" y="3229866"/>
            <a:ext cx="7021116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331119" y="3904792"/>
            <a:ext cx="7021116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2D61E7-C676-CB4B-A88C-6D5E87ED0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1" y="4867275"/>
            <a:ext cx="721888" cy="1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092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3037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3C4AC27-49F9-BB4D-81D3-665AB744D2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B477874-8C1D-E94F-A3D8-E16F5E599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66" y="411511"/>
            <a:ext cx="7560469" cy="808773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144EC256-532F-144F-A18F-24538A308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31854" y="1203822"/>
            <a:ext cx="7020381" cy="57606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1D88BC63-4704-6447-AB37-6224F6547D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31120" y="1880013"/>
            <a:ext cx="7021116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D2C5BCCD-F064-7943-BCBE-33C3DA3694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31854" y="2554939"/>
            <a:ext cx="7020381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04DA962D-B2D3-9647-A841-0720D47991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1119" y="3229866"/>
            <a:ext cx="7021116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1724C58E-0E8F-2C40-AB87-C13229EB75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31119" y="3904792"/>
            <a:ext cx="7021116" cy="5747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1334052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91766" y="411511"/>
            <a:ext cx="7560468" cy="64807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791766" y="1131590"/>
            <a:ext cx="7560468" cy="33118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7CFA92-6B46-5C4F-9253-7F92C92B0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1" y="4867275"/>
            <a:ext cx="721888" cy="1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20309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766" y="411510"/>
            <a:ext cx="7560468" cy="66475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791767" y="1131889"/>
            <a:ext cx="7558932" cy="34559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E2E6B1-389B-0B4D-B951-9D4353E5A1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05200" y="4868100"/>
            <a:ext cx="720900" cy="13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8311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3">
            <a:extLst>
              <a:ext uri="{FF2B5EF4-FFF2-40B4-BE49-F238E27FC236}">
                <a16:creationId xmlns:a16="http://schemas.microsoft.com/office/drawing/2014/main" id="{AE74E28C-5780-A543-ACC8-EE7D99F5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66" y="411510"/>
            <a:ext cx="7560469" cy="664757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8" name="Sisällön paikkamerkki 17">
            <a:extLst>
              <a:ext uri="{FF2B5EF4-FFF2-40B4-BE49-F238E27FC236}">
                <a16:creationId xmlns:a16="http://schemas.microsoft.com/office/drawing/2014/main" id="{4793DC74-8AA9-5E46-9DED-129AC46C11C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91766" y="1131889"/>
            <a:ext cx="7560469" cy="34559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9740BE-EF20-0841-BCE4-AAC3FE0DA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1" y="4867275"/>
            <a:ext cx="721888" cy="1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06300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 noProof="0" dirty="0"/>
              <a:t>Muokkaa </a:t>
            </a:r>
            <a:r>
              <a:rPr lang="fi-FI" noProof="0" dirty="0" err="1"/>
              <a:t>ots</a:t>
            </a:r>
            <a:r>
              <a:rPr lang="fi-FI" noProof="0" dirty="0"/>
              <a:t>. </a:t>
            </a:r>
            <a:r>
              <a:rPr lang="fi-FI" noProof="0" dirty="0" err="1"/>
              <a:t>perustyyl</a:t>
            </a:r>
            <a:r>
              <a:rPr lang="fi-FI" noProof="0" dirty="0"/>
              <a:t>. </a:t>
            </a:r>
            <a:r>
              <a:rPr lang="fi-FI" noProof="0" dirty="0" err="1"/>
              <a:t>napsautt</a:t>
            </a:r>
            <a:r>
              <a:rPr lang="fi-FI" noProof="0" dirty="0"/>
              <a:t>.</a:t>
            </a:r>
            <a:endParaRPr lang="en-GB" noProof="0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0" marR="0" indent="-179380" algn="l" defTabSz="457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582" indent="-176204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62" indent="-176204" algn="l" defTabSz="536548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02" indent="-176204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4" indent="-285736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 dirty="0"/>
              <a:t>Muokkaa tekstin perustyylejä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7A5E5D80-92B5-0540-8871-B5DF5039C4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2"/>
            <a:ext cx="827585" cy="157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47748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51612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51129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8667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99813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3935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95415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64354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52438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30709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33485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14536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53609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93712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405875910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415839583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6pPr>
              <a:defRPr/>
            </a:lvl6pPr>
          </a:lstStyle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9AD5-F248-4919-864A-CFD76CC027D6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409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90337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2140224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2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2" y="2931791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3" y="4731991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0770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3" y="2211711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2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2" y="3003278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35880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3" y="2931791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1875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3" y="2931791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52958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591" indent="-176209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75" indent="-176209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6209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62418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2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6409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8" y="0"/>
            <a:ext cx="3348038" cy="5143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9" y="411163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5"/>
            <a:ext cx="4823768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97030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1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5"/>
            <a:ext cx="4823768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9" y="411163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28911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1" y="0"/>
            <a:ext cx="4356100" cy="5143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1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1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14015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1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1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1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888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9215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411511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6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6" y="1924944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6" y="2573016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8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60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17799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3" y="411511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6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6" y="1924944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6" y="2573016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8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60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1785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90"/>
            <a:ext cx="8208912" cy="33118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306817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5" y="1131889"/>
            <a:ext cx="8207375" cy="34559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8512549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1131890"/>
            <a:ext cx="8496300" cy="3557770"/>
          </a:xfrm>
          <a:prstGeom prst="rect">
            <a:avLst/>
          </a:prstGeom>
        </p:spPr>
        <p:txBody>
          <a:bodyPr>
            <a:noAutofit/>
          </a:bodyPr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355591" indent="-176209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534975" indent="-176209" algn="l" defTabSz="53656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719120" indent="-176209" algn="l">
              <a:lnSpc>
                <a:spcPct val="90000"/>
              </a:lnSpc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8632598" y="4871789"/>
            <a:ext cx="1875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000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000" b="0" i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4689659"/>
            <a:ext cx="8496300" cy="14436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939952"/>
            <a:ext cx="465930" cy="857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101" y="4902763"/>
            <a:ext cx="697484" cy="2278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5769" y="4920694"/>
            <a:ext cx="735496" cy="12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513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27311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12730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6672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94020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9E1C9F4-BCC5-451C-92B3-411E7CB48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924" y="4738687"/>
            <a:ext cx="323527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DB5E79E3-17E5-4B5A-8CE4-FA5A82716DF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1489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409314499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8319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5335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26348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34286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91853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8133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14724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9789707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1006081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1131889"/>
            <a:ext cx="8496300" cy="3557770"/>
          </a:xfrm>
          <a:prstGeom prst="rect">
            <a:avLst/>
          </a:prstGeom>
        </p:spPr>
        <p:txBody>
          <a:bodyPr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719138" indent="-176213" algn="l">
              <a:lnSpc>
                <a:spcPct val="90000"/>
              </a:lnSpc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8632598" y="4871788"/>
            <a:ext cx="1875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000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000" b="0" i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4689659"/>
            <a:ext cx="8496300" cy="14436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75" y="4939951"/>
            <a:ext cx="465930" cy="857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1100" y="4902762"/>
            <a:ext cx="697484" cy="2278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769" y="4920694"/>
            <a:ext cx="735496" cy="12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75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7224038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chnic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E0814-5A3F-4AEE-BBDD-BFF605A48F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1419622"/>
            <a:ext cx="8496943" cy="616330"/>
          </a:xfrm>
          <a:prstGeom prst="rect">
            <a:avLst/>
          </a:prstGeom>
        </p:spPr>
        <p:txBody>
          <a:bodyPr anchor="b"/>
          <a:lstStyle>
            <a:lvl1pPr>
              <a:defRPr sz="3000" b="1"/>
            </a:lvl1pPr>
          </a:lstStyle>
          <a:p>
            <a:r>
              <a:rPr lang="en-US"/>
              <a:t>Technical Details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73084B-7CA0-4827-81BF-C6E14EE8FA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36" y="2139702"/>
            <a:ext cx="8424935" cy="2304256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24963"/>
                </a:solidFill>
              </a:defRPr>
            </a:lvl1pPr>
            <a:lvl2pPr>
              <a:defRPr b="0">
                <a:solidFill>
                  <a:srgbClr val="FFC300"/>
                </a:solidFill>
              </a:defRPr>
            </a:lvl2pPr>
            <a:lvl3pPr>
              <a:defRPr b="0">
                <a:solidFill>
                  <a:srgbClr val="FFC300"/>
                </a:solidFill>
              </a:defRPr>
            </a:lvl3pPr>
          </a:lstStyle>
          <a:p>
            <a:pPr lvl="0"/>
            <a:r>
              <a:rPr lang="en-US"/>
              <a:t>Insert your text</a:t>
            </a:r>
          </a:p>
          <a:p>
            <a:pPr lvl="1"/>
            <a:r>
              <a:rPr lang="en-US"/>
              <a:t>Insert your text</a:t>
            </a:r>
          </a:p>
          <a:p>
            <a:pPr lvl="2"/>
            <a:r>
              <a:rPr lang="en-US"/>
              <a:t>Insert your text</a:t>
            </a:r>
          </a:p>
        </p:txBody>
      </p:sp>
    </p:spTree>
    <p:extLst>
      <p:ext uri="{BB962C8B-B14F-4D97-AF65-F5344CB8AC3E}">
        <p14:creationId xmlns:p14="http://schemas.microsoft.com/office/powerpoint/2010/main" val="162404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0794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hoto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773C586-2DEA-4A61-A151-5D94F32916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510" y="1311015"/>
            <a:ext cx="4756546" cy="3132943"/>
          </a:xfrm>
          <a:prstGeom prst="rect">
            <a:avLst/>
          </a:prstGeom>
          <a:ln>
            <a:solidFill>
              <a:srgbClr val="0249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>
                <a:solidFill>
                  <a:srgbClr val="FFC300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8BD2BE-DFB8-44FD-BCF9-EB517C0F9C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96100" y="1527634"/>
            <a:ext cx="3528390" cy="2088232"/>
          </a:xfrm>
          <a:prstGeom prst="rect">
            <a:avLst/>
          </a:prstGeo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 lang="en-US" sz="1800" dirty="0">
                <a:solidFill>
                  <a:srgbClr val="024963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supporting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F9757-B204-4CD3-8E00-CC2612C33C25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97C3470-FCC7-48CD-94FD-9301A6807FE6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ERT YOUR SUBTITLE</a:t>
            </a:r>
            <a:endParaRPr lang="en-GB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8C9F1C27-813E-4A1D-A697-4A217A799D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Your Title</a:t>
            </a:r>
          </a:p>
        </p:txBody>
      </p:sp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C06258BD-8B03-49E4-9FCB-9D7A93C986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1D81B643-15E5-44C5-97A5-9E1F29CAF8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D7C3B18-C570-4E39-9FC4-111CD7B97A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6488" y="3795886"/>
            <a:ext cx="3528390" cy="288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1" dirty="0">
                <a:solidFill>
                  <a:srgbClr val="FBBE0A"/>
                </a:solidFill>
              </a:defRPr>
            </a:lvl1pPr>
            <a:lvl2pPr marL="457200" indent="0">
              <a:buNone/>
              <a:defRPr>
                <a:solidFill>
                  <a:srgbClr val="00BEE1"/>
                </a:solidFill>
              </a:defRPr>
            </a:lvl2pPr>
          </a:lstStyle>
          <a:p>
            <a:pPr lvl="0"/>
            <a:r>
              <a:rPr lang="en-US"/>
              <a:t>INSERT YOUR KEY MESSAGE</a:t>
            </a:r>
          </a:p>
        </p:txBody>
      </p:sp>
    </p:spTree>
    <p:extLst>
      <p:ext uri="{BB962C8B-B14F-4D97-AF65-F5344CB8AC3E}">
        <p14:creationId xmlns:p14="http://schemas.microsoft.com/office/powerpoint/2010/main" val="39919496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&amp;A and Technic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F11528-43BE-4D63-976E-5644B9CCD9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528" y="1635646"/>
            <a:ext cx="8491350" cy="22322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Insert technical details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049BB9-BD33-4EFC-90AC-A52524C28DA3}"/>
              </a:ext>
            </a:extLst>
          </p:cNvPr>
          <p:cNvSpPr/>
          <p:nvPr userDrawn="1"/>
        </p:nvSpPr>
        <p:spPr>
          <a:xfrm>
            <a:off x="1619672" y="195486"/>
            <a:ext cx="4824536" cy="751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F941763-BECF-4071-9905-53FF2ECE24B9}"/>
              </a:ext>
            </a:extLst>
          </p:cNvPr>
          <p:cNvSpPr txBox="1">
            <a:spLocks/>
          </p:cNvSpPr>
          <p:nvPr userDrawn="1"/>
        </p:nvSpPr>
        <p:spPr>
          <a:xfrm>
            <a:off x="1619161" y="630993"/>
            <a:ext cx="7195717" cy="30816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FFC3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echnical Details</a:t>
            </a:r>
            <a:endParaRPr lang="en-GB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9EC8F0D3-E9F3-4CE3-9F3F-71E95344D8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9161" y="259136"/>
            <a:ext cx="7195717" cy="371857"/>
          </a:xfrm>
        </p:spPr>
        <p:txBody>
          <a:bodyPr>
            <a:normAutofit/>
          </a:bodyPr>
          <a:lstStyle>
            <a:lvl1pPr>
              <a:buNone/>
              <a:defRPr sz="2400">
                <a:solidFill>
                  <a:srgbClr val="024963"/>
                </a:solidFill>
              </a:defRPr>
            </a:lvl1pPr>
          </a:lstStyle>
          <a:p>
            <a:pPr lvl="0"/>
            <a:r>
              <a:rPr lang="en-GB"/>
              <a:t>Q&amp;A Session</a:t>
            </a:r>
          </a:p>
        </p:txBody>
      </p:sp>
      <p:pic>
        <p:nvPicPr>
          <p:cNvPr id="3" name="Picture 2" descr="A close up of a screen&#10;&#10;Description automatically generated">
            <a:extLst>
              <a:ext uri="{FF2B5EF4-FFF2-40B4-BE49-F238E27FC236}">
                <a16:creationId xmlns:a16="http://schemas.microsoft.com/office/drawing/2014/main" id="{3D713DAF-0423-4337-92CE-30D3046C45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7" t="17694" r="2350" b="29291"/>
          <a:stretch/>
        </p:blipFill>
        <p:spPr>
          <a:xfrm>
            <a:off x="323527" y="4517139"/>
            <a:ext cx="2767300" cy="501933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F5DBFFFF-39C0-4088-9995-4A08E0E2B4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338" y="4550762"/>
            <a:ext cx="256525" cy="235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7341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271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717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001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9034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0534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8163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8473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076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1065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963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499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3133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fi-FI" sz="16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0861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7921603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8234985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140223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1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1" y="2931790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2" y="4731990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204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2" y="2211710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1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1" y="3003277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087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158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2" y="2931790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306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933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600" indent="-176213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88" indent="-176213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6213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7560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3086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3587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1208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0117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2334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4793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2" y="411510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5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5" y="1924943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5" y="2573015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7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59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9683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89"/>
            <a:ext cx="8208912" cy="3311823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5638138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4" y="1131888"/>
            <a:ext cx="8207375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117456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2" y="1275606"/>
            <a:ext cx="8136904" cy="3240360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687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3650" y="546496"/>
            <a:ext cx="6616700" cy="4050509"/>
          </a:xfrm>
          <a:prstGeom prst="rect">
            <a:avLst/>
          </a:prstGeom>
        </p:spPr>
        <p:txBody>
          <a:bodyPr anchor="ctr"/>
          <a:lstStyle>
            <a:lvl1pPr algn="ctr">
              <a:defRPr sz="4500" b="1" i="0">
                <a:latin typeface="Rational Display Black" pitchFamily="2" charset="0"/>
                <a:ea typeface="Rational Display Black" pitchFamily="2" charset="0"/>
                <a:cs typeface="Rational Display Black" pitchFamily="2" charset="0"/>
              </a:defRPr>
            </a:lvl1pPr>
          </a:lstStyle>
          <a:p>
            <a:r>
              <a:rPr lang="en-US"/>
              <a:t>BIG SITRA TITLE</a:t>
            </a:r>
          </a:p>
        </p:txBody>
      </p:sp>
    </p:spTree>
    <p:extLst>
      <p:ext uri="{BB962C8B-B14F-4D97-AF65-F5344CB8AC3E}">
        <p14:creationId xmlns:p14="http://schemas.microsoft.com/office/powerpoint/2010/main" val="2797411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386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pos="5768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  <p15:guide id="9" orient="horz" pos="232">
          <p15:clr>
            <a:srgbClr val="FBAE40"/>
          </p15:clr>
        </p15:guide>
        <p15:guide id="10" orient="horz" pos="40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2140224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9752" y="1779662"/>
            <a:ext cx="8064697" cy="360363"/>
          </a:xfrm>
        </p:spPr>
        <p:txBody>
          <a:bodyPr/>
          <a:lstStyle>
            <a:lvl1pPr marL="0" indent="0" algn="l">
              <a:buNone/>
              <a:defRPr sz="18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9752" y="2931791"/>
            <a:ext cx="8064697" cy="360363"/>
          </a:xfr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7" name="Picture 6" descr="Sitra_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113" y="4731991"/>
            <a:ext cx="903376" cy="359939"/>
          </a:xfrm>
          <a:prstGeom prst="rect">
            <a:avLst/>
          </a:prstGeom>
        </p:spPr>
      </p:pic>
      <p:pic>
        <p:nvPicPr>
          <p:cNvPr id="3" name="Picture 2" descr="SITRA_BLAC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736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9553" y="2211711"/>
            <a:ext cx="8064896" cy="664757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9752" y="1851149"/>
            <a:ext cx="8064698" cy="360363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9752" y="3003278"/>
            <a:ext cx="8064698" cy="360363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3" name="Picture 2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279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/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3" y="2931791"/>
            <a:ext cx="8064896" cy="431800"/>
          </a:xfr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7748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väli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1707654"/>
            <a:ext cx="8064896" cy="1224136"/>
          </a:xfrm>
        </p:spPr>
        <p:txBody>
          <a:bodyPr bIns="140400" anchor="b" anchorCtr="0"/>
          <a:lstStyle>
            <a:lvl1pPr algn="ctr">
              <a:defRPr sz="2400" cap="all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553" y="2931791"/>
            <a:ext cx="8064896" cy="431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9083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67494"/>
            <a:ext cx="8136905" cy="864096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5591" indent="-176209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4975" indent="-176209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6209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5" name="Picture 4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5552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2" y="267494"/>
            <a:ext cx="8136905" cy="864096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39553" y="1275606"/>
            <a:ext cx="8136904" cy="3240360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bg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bg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bg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163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8" y="0"/>
            <a:ext cx="3348038" cy="5143500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9" y="411163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5"/>
            <a:ext cx="4823768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696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1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5"/>
            <a:ext cx="4823768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9" y="411163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0608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1" y="0"/>
            <a:ext cx="4356100" cy="5143500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1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1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8339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n kuvan kuvalaat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7827" y="0"/>
            <a:ext cx="3348038" cy="51435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 defTabSz="536575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8" name="Picture 7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8703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4787901" y="0"/>
            <a:ext cx="4356100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1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43" indent="-285743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4" marR="0" indent="-179384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79" indent="-177796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50" indent="-171446" algn="l" defTabSz="53656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20" indent="-171446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7997" indent="-285743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1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6704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411511"/>
            <a:ext cx="8064895" cy="808773"/>
          </a:xfrm>
        </p:spPr>
        <p:txBody>
          <a:bodyPr anchor="t"/>
          <a:lstStyle>
            <a:lvl1pPr algn="l"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476376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476376" y="1924944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476376" y="2573016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475656" y="3221088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475656" y="3869160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96734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m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39553" y="411511"/>
            <a:ext cx="8064895" cy="808773"/>
          </a:xfr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476376" y="1275606"/>
            <a:ext cx="7128073" cy="576064"/>
          </a:xfrm>
        </p:spPr>
        <p:txBody>
          <a:bodyPr anchor="ctr"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476376" y="1924944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476376" y="2573016"/>
            <a:ext cx="7128073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475656" y="3221088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475656" y="3869160"/>
            <a:ext cx="7128792" cy="574799"/>
          </a:xfrm>
        </p:spPr>
        <p:txBody>
          <a:bodyPr anchor="ctr"/>
          <a:lstStyle>
            <a:lvl1pPr marL="0" indent="0" algn="l">
              <a:buNone/>
              <a:defRPr lang="en-GB" sz="1600" b="0" i="0" kern="1200" noProof="0" dirty="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400" b="1" i="0">
                <a:latin typeface="Arial"/>
                <a:cs typeface="Arial"/>
              </a:defRPr>
            </a:lvl2pPr>
            <a:lvl3pPr algn="l">
              <a:defRPr sz="1400" b="1" i="0">
                <a:latin typeface="Arial"/>
                <a:cs typeface="Arial"/>
              </a:defRPr>
            </a:lvl3pPr>
            <a:lvl4pPr algn="l">
              <a:defRPr sz="1400" b="1" i="0">
                <a:latin typeface="Arial"/>
                <a:cs typeface="Arial"/>
              </a:defRPr>
            </a:lvl4pPr>
            <a:lvl5pPr algn="l">
              <a:defRPr sz="1400" b="1" i="0">
                <a:latin typeface="Arial"/>
                <a:cs typeface="Arial"/>
              </a:defRPr>
            </a:lvl5pPr>
          </a:lstStyle>
          <a:p>
            <a:pPr lvl="0"/>
            <a:r>
              <a:rPr lang="fi-FI" noProof="0"/>
              <a:t>Muokkaa tekstin perustyylejä</a:t>
            </a:r>
          </a:p>
        </p:txBody>
      </p:sp>
      <p:pic>
        <p:nvPicPr>
          <p:cNvPr id="10" name="Picture 9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2010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11511"/>
            <a:ext cx="8208912" cy="648072"/>
          </a:xfrm>
        </p:spPr>
        <p:txBody>
          <a:bodyPr/>
          <a:lstStyle>
            <a:lvl1pPr>
              <a:defRPr sz="2400"/>
            </a:lvl1pPr>
          </a:lstStyle>
          <a:p>
            <a:r>
              <a:rPr lang="fi-FI" noProof="0"/>
              <a:t>Muokkaa ots. perustyyl. napsautt.</a:t>
            </a:r>
            <a:endParaRPr lang="en-GB" noProof="0"/>
          </a:p>
        </p:txBody>
      </p:sp>
      <p:pic>
        <p:nvPicPr>
          <p:cNvPr id="6" name="Picture 5" descr="SITRA_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3" y="4770001"/>
            <a:ext cx="827584" cy="161043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7544" y="1131590"/>
            <a:ext cx="8208912" cy="3311823"/>
          </a:xfrm>
        </p:spPr>
        <p:txBody>
          <a:bodyPr/>
          <a:lstStyle/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1070259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11510"/>
            <a:ext cx="8208912" cy="66475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pic>
        <p:nvPicPr>
          <p:cNvPr id="7" name="Picture 6" descr="SITRA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000" y="4770000"/>
            <a:ext cx="832500" cy="162000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7545" y="1131889"/>
            <a:ext cx="8207375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3903027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075" y="1754989"/>
            <a:ext cx="3140528" cy="1337582"/>
          </a:xfrm>
        </p:spPr>
        <p:txBody>
          <a:bodyPr wrap="square" anchor="ctr" anchorCtr="0"/>
          <a:lstStyle>
            <a:lvl1pPr>
              <a:lnSpc>
                <a:spcPct val="100000"/>
              </a:lnSpc>
              <a:defRPr sz="3000" b="0" i="1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6461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>
            <a:lvl1pPr>
              <a:defRPr sz="27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5725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8B709-FAB3-FC4D-8C28-31CDE8076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025" y="872097"/>
            <a:ext cx="7375072" cy="771525"/>
          </a:xfrm>
        </p:spPr>
        <p:txBody>
          <a:bodyPr/>
          <a:lstStyle>
            <a:lvl1pPr>
              <a:defRPr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D4806-3DB5-6142-AB3F-0CFC82A343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025" y="1513460"/>
            <a:ext cx="7375072" cy="2571750"/>
          </a:xfrm>
          <a:prstGeom prst="rect">
            <a:avLst/>
          </a:prstGeom>
        </p:spPr>
        <p:txBody>
          <a:bodyPr wrap="square"/>
          <a:lstStyle>
            <a:lvl1pPr marL="221456" indent="-221456"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500" b="1">
                <a:latin typeface="Century Gothic" panose="020B0502020202020204" pitchFamily="34" charset="0"/>
              </a:defRPr>
            </a:lvl1pPr>
            <a:lvl2pPr marL="388144" indent="-126206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350" b="0" i="0">
                <a:solidFill>
                  <a:schemeClr val="bg2"/>
                </a:solidFill>
                <a:latin typeface="Century Gothic" panose="020B0502020202020204" pitchFamily="34" charset="0"/>
              </a:defRPr>
            </a:lvl2pPr>
            <a:lvl3pPr marL="515541" indent="-127397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200"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 marL="650081" indent="-134541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050">
                <a:solidFill>
                  <a:schemeClr val="bg2"/>
                </a:solidFill>
                <a:latin typeface="Century Gothic" panose="020B0502020202020204" pitchFamily="34" charset="0"/>
              </a:defRPr>
            </a:lvl4pPr>
            <a:lvl5pPr marL="777479" indent="-127397">
              <a:lnSpc>
                <a:spcPct val="15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900">
                <a:solidFill>
                  <a:schemeClr val="bg2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37283B-E040-3A45-A872-FBF3D45B8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2F8AF2E6-64A8-0F46-AF27-0A96D82A03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5940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F3037B-1C48-8541-B535-58A0D8408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73" y="4641497"/>
            <a:ext cx="1033703" cy="48259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F1BC835E-1FDE-6041-8926-84031BDA9C3E}"/>
              </a:ext>
            </a:extLst>
          </p:cNvPr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rgbClr val="1E2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BB676755-0E40-6F4B-AD9C-FFCD5A4427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056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263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3348038" cy="5143500"/>
          </a:xfrm>
          <a:solidFill>
            <a:schemeClr val="tx1"/>
          </a:solidFill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3851920" y="411510"/>
            <a:ext cx="4824536" cy="5760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51920" y="987574"/>
            <a:ext cx="4823768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5288" y="411162"/>
            <a:ext cx="259253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8677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>
            <a:extLst>
              <a:ext uri="{FF2B5EF4-FFF2-40B4-BE49-F238E27FC236}">
                <a16:creationId xmlns:a16="http://schemas.microsoft.com/office/drawing/2014/main" id="{631FDD3D-8ED8-CE46-BAA2-72A8866A94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34591" r="37010" b="13962"/>
          <a:stretch/>
        </p:blipFill>
        <p:spPr>
          <a:xfrm>
            <a:off x="1807468" y="3328466"/>
            <a:ext cx="1748789" cy="1634541"/>
          </a:xfrm>
          <a:prstGeom prst="rect">
            <a:avLst/>
          </a:prstGeom>
          <a:noFill/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C1CD14E-4A4D-B744-99A0-27C09CA41F71}"/>
              </a:ext>
            </a:extLst>
          </p:cNvPr>
          <p:cNvSpPr/>
          <p:nvPr userDrawn="1"/>
        </p:nvSpPr>
        <p:spPr>
          <a:xfrm>
            <a:off x="-278027" y="739272"/>
            <a:ext cx="3596632" cy="3596632"/>
          </a:xfrm>
          <a:prstGeom prst="ellipse">
            <a:avLst/>
          </a:prstGeom>
          <a:solidFill>
            <a:srgbClr val="1E2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6D03C6C9-AEF7-7D4A-A337-2DA1DC1A6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383" y="1792060"/>
            <a:ext cx="3140528" cy="1337582"/>
          </a:xfrm>
        </p:spPr>
        <p:txBody>
          <a:bodyPr wrap="square" anchor="ctr" anchorCtr="0"/>
          <a:lstStyle>
            <a:lvl1pPr>
              <a:lnSpc>
                <a:spcPct val="100000"/>
              </a:lnSpc>
              <a:defRPr>
                <a:latin typeface="Prometo Medium" panose="020B0704030203060203" pitchFamily="34" charset="0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471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3F71052-DA50-4B4B-8DFB-1DABC7DF992D}"/>
              </a:ext>
            </a:extLst>
          </p:cNvPr>
          <p:cNvSpPr/>
          <p:nvPr userDrawn="1"/>
        </p:nvSpPr>
        <p:spPr>
          <a:xfrm>
            <a:off x="7679365" y="287079"/>
            <a:ext cx="1307805" cy="374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B817CDA-7B77-AB40-BB83-5A74ECA3C43C}"/>
              </a:ext>
            </a:extLst>
          </p:cNvPr>
          <p:cNvSpPr/>
          <p:nvPr userDrawn="1"/>
        </p:nvSpPr>
        <p:spPr>
          <a:xfrm>
            <a:off x="7381338" y="244050"/>
            <a:ext cx="3525325" cy="3525325"/>
          </a:xfrm>
          <a:prstGeom prst="ellipse">
            <a:avLst/>
          </a:prstGeom>
          <a:solidFill>
            <a:srgbClr val="1E2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DF4CBD03-A70F-1748-A3E3-DA22AF751C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34591" r="37010" b="13962"/>
          <a:stretch/>
        </p:blipFill>
        <p:spPr>
          <a:xfrm>
            <a:off x="3707843" y="3328466"/>
            <a:ext cx="1748789" cy="1634541"/>
          </a:xfrm>
          <a:prstGeom prst="rect">
            <a:avLst/>
          </a:prstGeom>
          <a:noFill/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1C1B83B-3828-BC4C-8CF0-14A7E57C96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556" y="1726553"/>
            <a:ext cx="3669719" cy="2571750"/>
          </a:xfrm>
          <a:prstGeom prst="rect">
            <a:avLst/>
          </a:prstGeom>
        </p:spPr>
        <p:txBody>
          <a:bodyPr wrap="square"/>
          <a:lstStyle>
            <a:lvl1pPr marL="221456" indent="-221456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500" b="1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388144" indent="-126206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350" b="0" i="0">
                <a:solidFill>
                  <a:schemeClr val="bg2"/>
                </a:solidFill>
                <a:latin typeface="Century Gothic" panose="020B0502020202020204" pitchFamily="34" charset="0"/>
              </a:defRPr>
            </a:lvl2pPr>
            <a:lvl3pPr marL="515541" indent="-127397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200"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 marL="650081" indent="-134541">
              <a:lnSpc>
                <a:spcPct val="10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1050">
                <a:solidFill>
                  <a:schemeClr val="bg2"/>
                </a:solidFill>
                <a:latin typeface="Century Gothic" panose="020B0502020202020204" pitchFamily="34" charset="0"/>
              </a:defRPr>
            </a:lvl4pPr>
            <a:lvl5pPr marL="777479" indent="-127397">
              <a:lnSpc>
                <a:spcPct val="150000"/>
              </a:lnSpc>
              <a:buClr>
                <a:srgbClr val="FF5A5A"/>
              </a:buClr>
              <a:buFont typeface="Arial" panose="020B0604020202020204" pitchFamily="34" charset="0"/>
              <a:buChar char="•"/>
              <a:tabLst/>
              <a:defRPr sz="900">
                <a:solidFill>
                  <a:schemeClr val="bg2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29E5534A-D5FE-9440-AE5B-B141C578A7C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82049" y="1074623"/>
            <a:ext cx="4265525" cy="3243656"/>
          </a:xfr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</p:spPr>
        <p:txBody>
          <a:bodyPr anchor="ctr">
            <a:normAutofit/>
          </a:bodyPr>
          <a:lstStyle>
            <a:lvl1pPr algn="ctr">
              <a:defRPr sz="900"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C581AF7-14F2-A444-B73B-0A2E5A8968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556" y="788285"/>
            <a:ext cx="3801954" cy="771525"/>
          </a:xfrm>
        </p:spPr>
        <p:txBody>
          <a:bodyPr/>
          <a:lstStyle>
            <a:lvl1pPr>
              <a:lnSpc>
                <a:spcPct val="100000"/>
              </a:lnSpc>
              <a:defRPr sz="2700" i="1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6644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4556" y="791052"/>
            <a:ext cx="3801954" cy="771525"/>
          </a:xfrm>
        </p:spPr>
        <p:txBody>
          <a:bodyPr/>
          <a:lstStyle>
            <a:lvl1pPr>
              <a:lnSpc>
                <a:spcPct val="100000"/>
              </a:lnSpc>
              <a:defRPr sz="2700" i="1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3CB26DEB-9258-F842-8984-237859FC89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34591" r="37010"/>
          <a:stretch/>
        </p:blipFill>
        <p:spPr>
          <a:xfrm>
            <a:off x="4708357" y="3065374"/>
            <a:ext cx="1748789" cy="2078126"/>
          </a:xfrm>
          <a:prstGeom prst="rect">
            <a:avLst/>
          </a:prstGeom>
          <a:noFill/>
        </p:spPr>
      </p:pic>
      <p:pic>
        <p:nvPicPr>
          <p:cNvPr id="9" name="Picture Placeholder 4">
            <a:extLst>
              <a:ext uri="{FF2B5EF4-FFF2-40B4-BE49-F238E27FC236}">
                <a16:creationId xmlns:a16="http://schemas.microsoft.com/office/drawing/2014/main" id="{85CAB737-5A33-3341-93BA-CB3E607FCB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34591" r="37010"/>
          <a:stretch/>
        </p:blipFill>
        <p:spPr>
          <a:xfrm>
            <a:off x="4708357" y="1001116"/>
            <a:ext cx="1748789" cy="2078126"/>
          </a:xfrm>
          <a:prstGeom prst="rect">
            <a:avLst/>
          </a:prstGeom>
          <a:noFill/>
        </p:spPr>
      </p:pic>
      <p:pic>
        <p:nvPicPr>
          <p:cNvPr id="10" name="Picture Placeholder 4">
            <a:extLst>
              <a:ext uri="{FF2B5EF4-FFF2-40B4-BE49-F238E27FC236}">
                <a16:creationId xmlns:a16="http://schemas.microsoft.com/office/drawing/2014/main" id="{7E081F6A-6EBD-3D4A-9D66-E06E6CAC78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68147" r="37010"/>
          <a:stretch/>
        </p:blipFill>
        <p:spPr>
          <a:xfrm>
            <a:off x="4708357" y="0"/>
            <a:ext cx="1748789" cy="1012013"/>
          </a:xfrm>
          <a:prstGeom prst="rect">
            <a:avLst/>
          </a:prstGeom>
          <a:noFill/>
        </p:spPr>
      </p:pic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305980" y="0"/>
            <a:ext cx="3838021" cy="5143500"/>
          </a:xfrm>
          <a:custGeom>
            <a:avLst/>
            <a:gdLst>
              <a:gd name="connsiteX0" fmla="*/ 1551265 w 5117361"/>
              <a:gd name="connsiteY0" fmla="*/ 0 h 6858000"/>
              <a:gd name="connsiteX1" fmla="*/ 5117361 w 5117361"/>
              <a:gd name="connsiteY1" fmla="*/ 0 h 6858000"/>
              <a:gd name="connsiteX2" fmla="*/ 5117361 w 5117361"/>
              <a:gd name="connsiteY2" fmla="*/ 6858000 h 6858000"/>
              <a:gd name="connsiteX3" fmla="*/ 1551265 w 5117361"/>
              <a:gd name="connsiteY3" fmla="*/ 6858000 h 6858000"/>
              <a:gd name="connsiteX4" fmla="*/ 1496804 w 5117361"/>
              <a:gd name="connsiteY4" fmla="*/ 6810825 h 6858000"/>
              <a:gd name="connsiteX5" fmla="*/ 0 w 5117361"/>
              <a:gd name="connsiteY5" fmla="*/ 3429000 h 6858000"/>
              <a:gd name="connsiteX6" fmla="*/ 1496804 w 5117361"/>
              <a:gd name="connsiteY6" fmla="*/ 47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7361" h="6858000">
                <a:moveTo>
                  <a:pt x="1551265" y="0"/>
                </a:moveTo>
                <a:lnTo>
                  <a:pt x="5117361" y="0"/>
                </a:lnTo>
                <a:lnTo>
                  <a:pt x="5117361" y="6858000"/>
                </a:lnTo>
                <a:lnTo>
                  <a:pt x="1551265" y="6858000"/>
                </a:lnTo>
                <a:lnTo>
                  <a:pt x="1496804" y="6810825"/>
                </a:lnTo>
                <a:cubicBezTo>
                  <a:pt x="577286" y="5975085"/>
                  <a:pt x="0" y="4769459"/>
                  <a:pt x="0" y="3429000"/>
                </a:cubicBezTo>
                <a:cubicBezTo>
                  <a:pt x="0" y="2088542"/>
                  <a:pt x="577286" y="882916"/>
                  <a:pt x="1496804" y="47175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16945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530626" y="-469624"/>
            <a:ext cx="6082748" cy="608274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7283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026" y="1730276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805512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794055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98345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348170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621853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707954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794055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7559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348170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621853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91876" y="1221805"/>
            <a:ext cx="2699891" cy="269989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008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197429" y="1165849"/>
            <a:ext cx="3094737" cy="3094737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2787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>
                <a:latin typeface="Prometo Medium" panose="020B0704030203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16699" y="2114068"/>
            <a:ext cx="1281164" cy="12811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042795" y="2114068"/>
            <a:ext cx="1281164" cy="12811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768891" y="2114068"/>
            <a:ext cx="1281164" cy="12811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94986" y="2114068"/>
            <a:ext cx="1281164" cy="12811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1268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97429" y="1482956"/>
            <a:ext cx="1978952" cy="197895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4412463" y="795130"/>
            <a:ext cx="5446207" cy="5446207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552697" y="1482956"/>
            <a:ext cx="1978952" cy="197895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907965" y="1482956"/>
            <a:ext cx="1978952" cy="197895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841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4787900" y="0"/>
            <a:ext cx="4356100" cy="51435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788024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467544" y="411510"/>
            <a:ext cx="3888432" cy="936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400" b="1">
                <a:latin typeface="Arial Black"/>
                <a:cs typeface="Arial Black"/>
              </a:defRPr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1600"/>
            </a:lvl3pPr>
            <a:lvl4pPr marL="0" indent="0" algn="l">
              <a:spcBef>
                <a:spcPts val="0"/>
              </a:spcBef>
              <a:buFont typeface="Arial"/>
              <a:buNone/>
              <a:defRPr sz="1600"/>
            </a:lvl4pPr>
            <a:lvl5pPr marL="0" indent="0" algn="l">
              <a:spcBef>
                <a:spcPts val="0"/>
              </a:spcBef>
              <a:buFont typeface="Arial"/>
              <a:buNone/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67544" y="1347614"/>
            <a:ext cx="3888432" cy="3384376"/>
          </a:xfrm>
        </p:spPr>
        <p:txBody>
          <a:bodyPr/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>
                <a:solidFill>
                  <a:schemeClr val="tx1"/>
                </a:solidFill>
                <a:latin typeface="Georgia"/>
                <a:cs typeface="Georgia"/>
              </a:defRPr>
            </a:lvl1pPr>
            <a:lvl2pPr marL="357188" indent="-17780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>
                <a:solidFill>
                  <a:schemeClr val="tx1"/>
                </a:solidFill>
                <a:latin typeface="Georgia"/>
                <a:cs typeface="Georgia"/>
              </a:defRPr>
            </a:lvl2pPr>
            <a:lvl3pPr marL="538163" indent="-171450" algn="l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3pPr>
            <a:lvl4pPr marL="719138" indent="-171450" algn="l">
              <a:lnSpc>
                <a:spcPct val="90000"/>
              </a:lnSpc>
              <a:buFont typeface="Georgia" panose="02040502050405020303" pitchFamily="18" charset="0"/>
              <a:buChar char="–"/>
              <a:defRPr sz="1200">
                <a:solidFill>
                  <a:schemeClr val="tx1"/>
                </a:solidFill>
                <a:latin typeface="Georgia"/>
                <a:cs typeface="Georgia"/>
              </a:defRPr>
            </a:lvl4pPr>
            <a:lvl5pPr marL="108000" indent="-285750" algn="l">
              <a:buFont typeface="Arial"/>
              <a:buChar char="•"/>
              <a:defRPr sz="1400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20072" y="411510"/>
            <a:ext cx="3384376" cy="39607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 descr="SITRA_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4770000"/>
            <a:ext cx="827584" cy="16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9962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184880" y="1879927"/>
            <a:ext cx="1666580" cy="1666580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296821" y="1165849"/>
            <a:ext cx="3094737" cy="3094737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Oval 7"/>
          <p:cNvSpPr/>
          <p:nvPr userDrawn="1"/>
        </p:nvSpPr>
        <p:spPr>
          <a:xfrm>
            <a:off x="3458184" y="-255431"/>
            <a:ext cx="5937299" cy="5937297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6484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D26AAE-1113-4B4E-915B-C360D35D8537}"/>
              </a:ext>
            </a:extLst>
          </p:cNvPr>
          <p:cNvSpPr/>
          <p:nvPr userDrawn="1"/>
        </p:nvSpPr>
        <p:spPr>
          <a:xfrm>
            <a:off x="534286" y="271131"/>
            <a:ext cx="1930887" cy="350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2006542" y="-396899"/>
            <a:ext cx="5937299" cy="5937297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026229" y="1016762"/>
            <a:ext cx="3094737" cy="3094737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96820" y="455160"/>
            <a:ext cx="1729409" cy="172940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120967" y="2943692"/>
            <a:ext cx="1729409" cy="172940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4733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41023" y="1724096"/>
            <a:ext cx="3140528" cy="1337582"/>
          </a:xfrm>
        </p:spPr>
        <p:txBody>
          <a:bodyPr wrap="square" anchor="ctr" anchorCtr="0"/>
          <a:lstStyle>
            <a:lvl1pPr>
              <a:lnSpc>
                <a:spcPct val="100000"/>
              </a:lnSpc>
              <a:defRPr sz="3000" b="0" i="1" spc="0">
                <a:solidFill>
                  <a:schemeClr val="bg1"/>
                </a:solidFill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125073" y="964330"/>
            <a:ext cx="3214841" cy="321484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A8A8D22-515C-AA4A-B312-CDAD2323D2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949844E0-98A1-1D44-87EC-127C1B229E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49527" y="964331"/>
            <a:ext cx="3277790" cy="3214840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</p:spPr>
        <p:txBody>
          <a:bodyPr anchor="ctr" anchorCtr="0">
            <a:normAutofit/>
          </a:bodyPr>
          <a:lstStyle>
            <a:lvl1pPr algn="ctr">
              <a:defRPr sz="900"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Oval 6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0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0329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bg>
      <p:bgPr>
        <a:solidFill>
          <a:srgbClr val="1E22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4">
            <a:extLst>
              <a:ext uri="{FF2B5EF4-FFF2-40B4-BE49-F238E27FC236}">
                <a16:creationId xmlns:a16="http://schemas.microsoft.com/office/drawing/2014/main" id="{95BB23AD-A3FC-0744-B471-3A03C4FF9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23095" r="27906" b="13962"/>
          <a:stretch/>
        </p:blipFill>
        <p:spPr>
          <a:xfrm>
            <a:off x="7713739" y="384045"/>
            <a:ext cx="2037509" cy="1999796"/>
          </a:xfrm>
          <a:prstGeom prst="rect">
            <a:avLst/>
          </a:prstGeom>
          <a:noFill/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8162" y="1751959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737580" y="1039444"/>
            <a:ext cx="2762612" cy="276261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749136" y="1039444"/>
            <a:ext cx="2762612" cy="276261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2C5D15-A821-3B44-86EC-A97D6D6376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1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1736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ustom Layout">
    <p:bg>
      <p:bgPr>
        <a:solidFill>
          <a:srgbClr val="1E22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D9B09EF-B7CF-7B40-BCCF-4D3D95697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12" name="Oval 11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4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Placeholder 6">
            <a:extLst>
              <a:ext uri="{FF2B5EF4-FFF2-40B4-BE49-F238E27FC236}">
                <a16:creationId xmlns:a16="http://schemas.microsoft.com/office/drawing/2014/main" id="{AAD6EEF9-E311-244B-B02A-B96F631DA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7" t="32270" r="25074" b="731"/>
          <a:stretch/>
        </p:blipFill>
        <p:spPr>
          <a:xfrm rot="6494833">
            <a:off x="4663974" y="3375948"/>
            <a:ext cx="2527487" cy="2531099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9" name="Picture Placeholder 6">
            <a:extLst>
              <a:ext uri="{FF2B5EF4-FFF2-40B4-BE49-F238E27FC236}">
                <a16:creationId xmlns:a16="http://schemas.microsoft.com/office/drawing/2014/main" id="{AD8883EE-92E5-7F4D-8E79-60436087CB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75" r="20875"/>
          <a:stretch/>
        </p:blipFill>
        <p:spPr>
          <a:xfrm rot="2700000">
            <a:off x="-967769" y="-932216"/>
            <a:ext cx="2909129" cy="2913284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F1E3399B-E354-5A4A-B609-586F0639F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8" t="28178"/>
          <a:stretch/>
        </p:blipFill>
        <p:spPr>
          <a:xfrm rot="20179082">
            <a:off x="7593295" y="626558"/>
            <a:ext cx="2909129" cy="2913285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96581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5 Custom Layout">
    <p:bg>
      <p:bgPr>
        <a:solidFill>
          <a:srgbClr val="1E22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D9B09EF-B7CF-7B40-BCCF-4D3D95697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12" name="Oval 11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4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3019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Custom Layout">
    <p:bg>
      <p:bgPr>
        <a:solidFill>
          <a:srgbClr val="1E22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6">
            <a:extLst>
              <a:ext uri="{FF2B5EF4-FFF2-40B4-BE49-F238E27FC236}">
                <a16:creationId xmlns:a16="http://schemas.microsoft.com/office/drawing/2014/main" id="{91D1851B-4A72-D147-AC0E-C10A50EF8D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99" t="25172" r="-1321" b="3006"/>
          <a:stretch/>
        </p:blipFill>
        <p:spPr>
          <a:xfrm rot="20179082">
            <a:off x="1247440" y="1281876"/>
            <a:ext cx="2909129" cy="2913285"/>
          </a:xfrm>
          <a:prstGeom prst="ellipse">
            <a:avLst/>
          </a:prstGeom>
          <a:noFill/>
          <a:ln>
            <a:noFill/>
          </a:ln>
        </p:spPr>
      </p:pic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878087" y="1071979"/>
            <a:ext cx="2914103" cy="2914103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Oval 5"/>
          <p:cNvSpPr/>
          <p:nvPr userDrawn="1"/>
        </p:nvSpPr>
        <p:spPr>
          <a:xfrm>
            <a:off x="1501227" y="1070293"/>
            <a:ext cx="2915789" cy="29157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Prometo Medium" panose="020B070403020306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0034" y="2355781"/>
            <a:ext cx="2554625" cy="6858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350" b="0" i="1" u="none">
                <a:solidFill>
                  <a:srgbClr val="1E22AA"/>
                </a:solidFill>
                <a:latin typeface="Prometo Medium" panose="020B0704030203060203" pitchFamily="34" charset="0"/>
                <a:ea typeface="Prometo Medium" panose="020B0704030203060203" pitchFamily="34" charset="0"/>
                <a:cs typeface="Prometo Medium" panose="020B070403020306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722433" y="3224334"/>
            <a:ext cx="377027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500" b="0" i="1" dirty="0">
                <a:solidFill>
                  <a:schemeClr val="accent3"/>
                </a:solidFill>
                <a:latin typeface="Prometo Medium" panose="020B0704030203060203" pitchFamily="34" charset="0"/>
              </a:rPr>
              <a:t>“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9B09EF-B7CF-7B40-BCCF-4D3D95697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24E9FB1-80D9-E24B-8D32-3AB86CC50E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25408" y="1071979"/>
            <a:ext cx="2914103" cy="2914103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F7053BB-1F93-3F4C-8EB7-1D03DFC395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82227" y="1070293"/>
            <a:ext cx="2977969" cy="291578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</p:spPr>
        <p:txBody>
          <a:bodyPr anchor="ctr" anchorCtr="0">
            <a:normAutofit/>
          </a:bodyPr>
          <a:lstStyle>
            <a:lvl1pPr algn="ctr">
              <a:defRPr sz="900"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Oval 11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4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39845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rgbClr val="1E22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11051" y="-1443659"/>
            <a:ext cx="8030817" cy="8030817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351888" y="1792060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3000">
                <a:solidFill>
                  <a:srgbClr val="FFFFFF"/>
                </a:solidFill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086156-E11E-AF46-8F88-7B60B00053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192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bg>
      <p:bgPr>
        <a:solidFill>
          <a:srgbClr val="1E22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088276" y="-1529160"/>
            <a:ext cx="6816989" cy="681698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47494" y="1606708"/>
            <a:ext cx="3140528" cy="1337582"/>
          </a:xfrm>
        </p:spPr>
        <p:txBody>
          <a:bodyPr/>
          <a:lstStyle>
            <a:lvl1pPr>
              <a:lnSpc>
                <a:spcPct val="100000"/>
              </a:lnSpc>
              <a:defRPr sz="4050">
                <a:solidFill>
                  <a:srgbClr val="FFFFFF"/>
                </a:solidFill>
                <a:latin typeface="Prometo Medium" panose="020B0704030203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A3D5D4-954C-9140-83B8-C4B4857889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6"/>
          <a:stretch/>
        </p:blipFill>
        <p:spPr>
          <a:xfrm>
            <a:off x="608162" y="4641498"/>
            <a:ext cx="621614" cy="482593"/>
          </a:xfrm>
          <a:prstGeom prst="rect">
            <a:avLst/>
          </a:prstGeom>
        </p:spPr>
      </p:pic>
      <p:sp>
        <p:nvSpPr>
          <p:cNvPr id="5" name="Oval 4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accent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4506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1604948" y="-396899"/>
            <a:ext cx="5937299" cy="5937297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384734" y="847424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114142" y="847424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4843551" y="847424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6572959" y="847424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1384734" y="2815372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1"/>
          </p:nvPr>
        </p:nvSpPr>
        <p:spPr>
          <a:xfrm>
            <a:off x="3114142" y="2815372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4843551" y="2815372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572959" y="2815372"/>
            <a:ext cx="1114721" cy="111472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032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0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89.xml"/><Relationship Id="rId21" Type="http://schemas.openxmlformats.org/officeDocument/2006/relationships/image" Target="../media/image24.emf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88.xml"/><Relationship Id="rId16" Type="http://schemas.openxmlformats.org/officeDocument/2006/relationships/theme" Target="../theme/theme1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196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203.xml"/><Relationship Id="rId16" Type="http://schemas.openxmlformats.org/officeDocument/2006/relationships/theme" Target="../theme/theme14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11.xml"/><Relationship Id="rId19" Type="http://schemas.openxmlformats.org/officeDocument/2006/relationships/image" Target="../media/image31.png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26.xml"/><Relationship Id="rId19" Type="http://schemas.openxmlformats.org/officeDocument/2006/relationships/theme" Target="../theme/theme1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2.xml"/><Relationship Id="rId13" Type="http://schemas.openxmlformats.org/officeDocument/2006/relationships/slideLayout" Target="../slideLayouts/slideLayout247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237.xml"/><Relationship Id="rId21" Type="http://schemas.openxmlformats.org/officeDocument/2006/relationships/image" Target="../media/image41.emf"/><Relationship Id="rId7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46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236.xml"/><Relationship Id="rId16" Type="http://schemas.openxmlformats.org/officeDocument/2006/relationships/theme" Target="../theme/theme16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35.xml"/><Relationship Id="rId6" Type="http://schemas.openxmlformats.org/officeDocument/2006/relationships/slideLayout" Target="../slideLayouts/slideLayout240.xml"/><Relationship Id="rId11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39.xml"/><Relationship Id="rId15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44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43.xml"/><Relationship Id="rId14" Type="http://schemas.openxmlformats.org/officeDocument/2006/relationships/slideLayout" Target="../slideLayouts/slideLayout24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7.xml"/><Relationship Id="rId13" Type="http://schemas.openxmlformats.org/officeDocument/2006/relationships/slideLayout" Target="../slideLayouts/slideLayout26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252.xml"/><Relationship Id="rId21" Type="http://schemas.openxmlformats.org/officeDocument/2006/relationships/image" Target="../media/image24.emf"/><Relationship Id="rId7" Type="http://schemas.openxmlformats.org/officeDocument/2006/relationships/slideLayout" Target="../slideLayouts/slideLayout256.xml"/><Relationship Id="rId12" Type="http://schemas.openxmlformats.org/officeDocument/2006/relationships/slideLayout" Target="../slideLayouts/slideLayout261.xml"/><Relationship Id="rId17" Type="http://schemas.openxmlformats.org/officeDocument/2006/relationships/vmlDrawing" Target="../drawings/vmlDrawing4.vml"/><Relationship Id="rId2" Type="http://schemas.openxmlformats.org/officeDocument/2006/relationships/slideLayout" Target="../slideLayouts/slideLayout251.xml"/><Relationship Id="rId16" Type="http://schemas.openxmlformats.org/officeDocument/2006/relationships/theme" Target="../theme/theme17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250.xml"/><Relationship Id="rId6" Type="http://schemas.openxmlformats.org/officeDocument/2006/relationships/slideLayout" Target="../slideLayouts/slideLayout255.xml"/><Relationship Id="rId11" Type="http://schemas.openxmlformats.org/officeDocument/2006/relationships/slideLayout" Target="../slideLayouts/slideLayout260.xml"/><Relationship Id="rId5" Type="http://schemas.openxmlformats.org/officeDocument/2006/relationships/slideLayout" Target="../slideLayouts/slideLayout254.xml"/><Relationship Id="rId1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59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253.xml"/><Relationship Id="rId9" Type="http://schemas.openxmlformats.org/officeDocument/2006/relationships/slideLayout" Target="../slideLayouts/slideLayout258.xml"/><Relationship Id="rId14" Type="http://schemas.openxmlformats.org/officeDocument/2006/relationships/slideLayout" Target="../slideLayouts/slideLayout26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267.xml"/><Relationship Id="rId21" Type="http://schemas.openxmlformats.org/officeDocument/2006/relationships/image" Target="../media/image24.emf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vmlDrawing" Target="../drawings/vmlDrawing6.vml"/><Relationship Id="rId2" Type="http://schemas.openxmlformats.org/officeDocument/2006/relationships/slideLayout" Target="../slideLayouts/slideLayout266.xml"/><Relationship Id="rId16" Type="http://schemas.openxmlformats.org/officeDocument/2006/relationships/theme" Target="../theme/theme18.xml"/><Relationship Id="rId20" Type="http://schemas.openxmlformats.org/officeDocument/2006/relationships/oleObject" Target="../embeddings/oleObject6.bin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5" Type="http://schemas.openxmlformats.org/officeDocument/2006/relationships/slideLayout" Target="../slideLayouts/slideLayout279.xml"/><Relationship Id="rId10" Type="http://schemas.openxmlformats.org/officeDocument/2006/relationships/slideLayout" Target="../slideLayouts/slideLayout274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42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41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4" Type="http://schemas.openxmlformats.org/officeDocument/2006/relationships/image" Target="../media/image7.png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43" Type="http://schemas.openxmlformats.org/officeDocument/2006/relationships/theme" Target="../theme/theme6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0"/>
            <a:endParaRPr lang="fi-FI" dirty="0"/>
          </a:p>
          <a:p>
            <a:pPr lvl="0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12514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1" r:id="rId1"/>
    <p:sldLayoutId id="2147486092" r:id="rId2"/>
    <p:sldLayoutId id="2147486078" r:id="rId3"/>
    <p:sldLayoutId id="2147486094" r:id="rId4"/>
    <p:sldLayoutId id="2147486082" r:id="rId5"/>
    <p:sldLayoutId id="2147486083" r:id="rId6"/>
    <p:sldLayoutId id="2147486093" r:id="rId7"/>
    <p:sldLayoutId id="2147486081" r:id="rId8"/>
    <p:sldLayoutId id="2147486075" r:id="rId9"/>
    <p:sldLayoutId id="2147486074" r:id="rId10"/>
    <p:sldLayoutId id="2147486086" r:id="rId11"/>
    <p:sldLayoutId id="2147486087" r:id="rId12"/>
    <p:sldLayoutId id="2147486084" r:id="rId13"/>
    <p:sldLayoutId id="2147486085" r:id="rId1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 noProof="0"/>
              <a:t>Muokkaa perustyyl. napsautt.</a:t>
            </a:r>
            <a:endParaRPr lang="en-GB" noProof="0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0"/>
            <a:endParaRPr lang="en-GB" noProof="0" dirty="0"/>
          </a:p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97319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4" r:id="rId1"/>
    <p:sldLayoutId id="2147486275" r:id="rId2"/>
    <p:sldLayoutId id="2147486276" r:id="rId3"/>
    <p:sldLayoutId id="2147486277" r:id="rId4"/>
    <p:sldLayoutId id="2147486278" r:id="rId5"/>
    <p:sldLayoutId id="2147486279" r:id="rId6"/>
    <p:sldLayoutId id="2147486280" r:id="rId7"/>
    <p:sldLayoutId id="2147486281" r:id="rId8"/>
    <p:sldLayoutId id="2147486282" r:id="rId9"/>
    <p:sldLayoutId id="2147486283" r:id="rId10"/>
    <p:sldLayoutId id="2147486284" r:id="rId11"/>
    <p:sldLayoutId id="2147486285" r:id="rId12"/>
    <p:sldLayoutId id="2147486286" r:id="rId13"/>
    <p:sldLayoutId id="2147486287" r:id="rId14"/>
    <p:sldLayoutId id="2147486288" r:id="rId1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457189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4" indent="-179384" algn="l" defTabSz="457189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79" indent="-17779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61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07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754" indent="0" algn="ctr" defTabSz="457189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330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90" r:id="rId1"/>
    <p:sldLayoutId id="2147486291" r:id="rId2"/>
    <p:sldLayoutId id="2147486292" r:id="rId3"/>
    <p:sldLayoutId id="2147486293" r:id="rId4"/>
    <p:sldLayoutId id="2147486294" r:id="rId5"/>
    <p:sldLayoutId id="2147486295" r:id="rId6"/>
    <p:sldLayoutId id="2147486296" r:id="rId7"/>
    <p:sldLayoutId id="2147486297" r:id="rId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3840">
          <p15:clr>
            <a:srgbClr val="F26B43"/>
          </p15:clr>
        </p15:guide>
        <p15:guide id="3" pos="1912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232">
          <p15:clr>
            <a:srgbClr val="F26B43"/>
          </p15:clr>
        </p15:guide>
        <p15:guide id="7" orient="horz" pos="3861">
          <p15:clr>
            <a:srgbClr val="F26B43"/>
          </p15:clr>
        </p15:guide>
        <p15:guide id="8" orient="horz" pos="4088">
          <p15:clr>
            <a:srgbClr val="F26B43"/>
          </p15:clr>
        </p15:guide>
        <p15:guide id="9" orient="horz" pos="459">
          <p15:clr>
            <a:srgbClr val="F26B43"/>
          </p15:clr>
        </p15:guide>
        <p15:guide id="10" pos="5768">
          <p15:clr>
            <a:srgbClr val="F26B43"/>
          </p15:clr>
        </p15:guide>
        <p15:guide id="11" pos="438">
          <p15:clr>
            <a:srgbClr val="F26B43"/>
          </p15:clr>
        </p15:guide>
        <p15:guide id="12" pos="7242">
          <p15:clr>
            <a:srgbClr val="F26B43"/>
          </p15:clr>
        </p15:guide>
        <p15:guide id="13" pos="2139">
          <p15:clr>
            <a:srgbClr val="F26B43"/>
          </p15:clr>
        </p15:guide>
        <p15:guide id="14" pos="3727">
          <p15:clr>
            <a:srgbClr val="F26B43"/>
          </p15:clr>
        </p15:guide>
        <p15:guide id="15" pos="3953">
          <p15:clr>
            <a:srgbClr val="F26B43"/>
          </p15:clr>
        </p15:guide>
        <p15:guide id="16" pos="5541">
          <p15:clr>
            <a:srgbClr val="F26B43"/>
          </p15:clr>
        </p15:guide>
        <p15:guide id="17" orient="horz" pos="1933">
          <p15:clr>
            <a:srgbClr val="F26B43"/>
          </p15:clr>
        </p15:guide>
        <p15:guide id="18" orient="horz" pos="2387">
          <p15:clr>
            <a:srgbClr val="F26B43"/>
          </p15:clr>
        </p15:guide>
        <p15:guide id="19" pos="3613">
          <p15:clr>
            <a:srgbClr val="F26B43"/>
          </p15:clr>
        </p15:guide>
        <p15:guide id="20" pos="4067">
          <p15:clr>
            <a:srgbClr val="F26B43"/>
          </p15:clr>
        </p15:guide>
        <p15:guide id="21" pos="5110">
          <p15:clr>
            <a:srgbClr val="F26B43"/>
          </p15:clr>
        </p15:guide>
        <p15:guide id="22" pos="2570">
          <p15:clr>
            <a:srgbClr val="F26B43"/>
          </p15:clr>
        </p15:guide>
        <p15:guide id="23" orient="horz" pos="2273">
          <p15:clr>
            <a:srgbClr val="F26B43"/>
          </p15:clr>
        </p15:guide>
        <p15:guide id="24" orient="horz" pos="2047">
          <p15:clr>
            <a:srgbClr val="F26B43"/>
          </p15:clr>
        </p15:guide>
        <p15:guide id="25" orient="horz" pos="3974">
          <p15:clr>
            <a:srgbClr val="F26B43"/>
          </p15:clr>
        </p15:guide>
        <p15:guide id="26" orient="horz" pos="4201">
          <p15:clr>
            <a:srgbClr val="F26B43"/>
          </p15:clr>
        </p15:guide>
        <p15:guide id="27" orient="horz" pos="346">
          <p15:clr>
            <a:srgbClr val="F26B43"/>
          </p15:clr>
        </p15:guide>
        <p15:guide id="28" orient="horz" pos="119">
          <p15:clr>
            <a:srgbClr val="F26B43"/>
          </p15:clr>
        </p15:guide>
        <p15:guide id="29" pos="7582">
          <p15:clr>
            <a:srgbClr val="F26B43"/>
          </p15:clr>
        </p15:guide>
        <p15:guide id="30" pos="7355">
          <p15:clr>
            <a:srgbClr val="F26B43"/>
          </p15:clr>
        </p15:guide>
        <p15:guide id="31" pos="325">
          <p15:clr>
            <a:srgbClr val="F26B43"/>
          </p15:clr>
        </p15:guide>
        <p15:guide id="32" pos="98">
          <p15:clr>
            <a:srgbClr val="F26B43"/>
          </p15:clr>
        </p15:guide>
        <p15:guide id="33" pos="5654">
          <p15:clr>
            <a:srgbClr val="F26B43"/>
          </p15:clr>
        </p15:guide>
        <p15:guide id="34" pos="5314">
          <p15:clr>
            <a:srgbClr val="F26B43"/>
          </p15:clr>
        </p15:guide>
        <p15:guide id="35" pos="5428">
          <p15:clr>
            <a:srgbClr val="F26B43"/>
          </p15:clr>
        </p15:guide>
        <p15:guide id="36" pos="2252">
          <p15:clr>
            <a:srgbClr val="F26B43"/>
          </p15:clr>
        </p15:guide>
        <p15:guide id="37" pos="2026">
          <p15:clr>
            <a:srgbClr val="F26B43"/>
          </p15:clr>
        </p15:guide>
        <p15:guide id="38" pos="2366">
          <p15:clr>
            <a:srgbClr val="F26B43"/>
          </p15:clr>
        </p15:guide>
        <p15:guide id="39" orient="horz" pos="3249">
          <p15:clr>
            <a:srgbClr val="F26B43"/>
          </p15:clr>
        </p15:guide>
        <p15:guide id="40" orient="horz" pos="1071">
          <p15:clr>
            <a:srgbClr val="F26B43"/>
          </p15:clr>
        </p15:guide>
        <p15:guide id="41" orient="horz" pos="1434">
          <p15:clr>
            <a:srgbClr val="F26B43"/>
          </p15:clr>
        </p15:guide>
        <p15:guide id="42" orient="horz" pos="288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55255" y="52915"/>
            <a:ext cx="5445126" cy="7192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>
                <a:solidFill>
                  <a:srgbClr val="74CA2D"/>
                </a:solidFill>
                <a:latin typeface="Rational TW Display SemiBold" panose="02010009030000000000" pitchFamily="49" charset="0"/>
              </a:rPr>
              <a:t>Agenda proposa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834" y="1100667"/>
            <a:ext cx="4548717" cy="1287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Oswald Light"/>
                <a:cs typeface="Oswald Light"/>
              </a:defRPr>
            </a:lvl1pPr>
          </a:lstStyle>
          <a:p>
            <a:fld id="{EAF3AFC5-4290-E644-978D-4E5ADF2564A1}" type="datetimeFigureOut">
              <a:rPr lang="en-US" smtClean="0"/>
              <a:pPr/>
              <a:t>10/25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Oswald Light"/>
                <a:cs typeface="Oswald Ligh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Oswald Light"/>
                <a:cs typeface="Oswald Light"/>
              </a:defRPr>
            </a:lvl1pPr>
          </a:lstStyle>
          <a:p>
            <a:fld id="{1CDEA03F-0621-5C49-A9B2-B14E77DDA9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964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99" r:id="rId1"/>
    <p:sldLayoutId id="2147486300" r:id="rId2"/>
    <p:sldLayoutId id="2147486301" r:id="rId3"/>
    <p:sldLayoutId id="2147486302" r:id="rId4"/>
    <p:sldLayoutId id="214748630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Rational TW Display Book" panose="02010009030000000000" pitchFamily="49" charset="0"/>
          <a:ea typeface="+mj-ea"/>
          <a:cs typeface="Rational TW Display Book" panose="02010009030000000000" pitchFamily="49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Rational Display Medium" pitchFamily="2" charset="0"/>
          <a:ea typeface="+mn-ea"/>
          <a:cs typeface="Rational Display Medium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chemeClr val="tx1"/>
          </a:solidFill>
          <a:latin typeface="Rational Display Medium" pitchFamily="2" charset="0"/>
          <a:ea typeface="+mn-ea"/>
          <a:cs typeface="Rational Display Medium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chemeClr val="tx1"/>
          </a:solidFill>
          <a:latin typeface="Rational Display Medium" pitchFamily="2" charset="0"/>
          <a:ea typeface="+mn-ea"/>
          <a:cs typeface="Rational Display Medium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chemeClr val="tx1"/>
          </a:solidFill>
          <a:latin typeface="Rational Display Medium" pitchFamily="2" charset="0"/>
          <a:ea typeface="+mn-ea"/>
          <a:cs typeface="Rational Display Medium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b="0" i="0" kern="1200">
          <a:solidFill>
            <a:schemeClr val="tx1"/>
          </a:solidFill>
          <a:latin typeface="Rational Display Medium" pitchFamily="2" charset="0"/>
          <a:ea typeface="+mn-ea"/>
          <a:cs typeface="Rational Display Medium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96D8E4-646B-4D1C-AFFF-23F148DCF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56694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0" imgW="359" imgH="360" progId="TCLayout.ActiveDocument.1">
                  <p:embed/>
                </p:oleObj>
              </mc:Choice>
              <mc:Fallback>
                <p:oleObj name="think-cell Slide" r:id="rId20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96D8E4-646B-4D1C-AFFF-23F148DCF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68C34A-13F9-465C-A30F-92A4CD9487B3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  <a:p>
            <a:pPr lvl="3"/>
            <a:r>
              <a:rPr lang="fi-FI" err="1"/>
              <a:t>Four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  <a:p>
            <a:pPr lvl="0"/>
            <a:endParaRPr lang="fi-FI"/>
          </a:p>
          <a:p>
            <a:pPr lvl="0"/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D90D5-115D-4F7A-BA77-BA606CBF5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4" y="473868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5E79E3-17E5-4B5A-8CE4-FA5A82716DF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3097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2" r:id="rId1"/>
    <p:sldLayoutId id="2147486313" r:id="rId2"/>
    <p:sldLayoutId id="2147486314" r:id="rId3"/>
    <p:sldLayoutId id="2147486315" r:id="rId4"/>
    <p:sldLayoutId id="2147486316" r:id="rId5"/>
    <p:sldLayoutId id="2147486317" r:id="rId6"/>
    <p:sldLayoutId id="2147486318" r:id="rId7"/>
    <p:sldLayoutId id="2147486319" r:id="rId8"/>
    <p:sldLayoutId id="2147486320" r:id="rId9"/>
    <p:sldLayoutId id="2147486321" r:id="rId10"/>
    <p:sldLayoutId id="2147486322" r:id="rId11"/>
    <p:sldLayoutId id="2147486323" r:id="rId12"/>
    <p:sldLayoutId id="2147486324" r:id="rId13"/>
    <p:sldLayoutId id="2147486325" r:id="rId14"/>
    <p:sldLayoutId id="2147486326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screen&#10;&#10;Description automatically generated">
            <a:extLst>
              <a:ext uri="{FF2B5EF4-FFF2-40B4-BE49-F238E27FC236}">
                <a16:creationId xmlns:a16="http://schemas.microsoft.com/office/drawing/2014/main" id="{7E44E807-66A9-4C3F-B280-A91615535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7" t="17694" r="2351" b="29291"/>
          <a:stretch/>
        </p:blipFill>
        <p:spPr>
          <a:xfrm>
            <a:off x="1475655" y="177336"/>
            <a:ext cx="4415693" cy="7790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91D046E-088C-440D-B5FE-4EB33C4790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10" r="-2010"/>
          <a:stretch/>
        </p:blipFill>
        <p:spPr>
          <a:xfrm>
            <a:off x="323528" y="267494"/>
            <a:ext cx="1045385" cy="66390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80F5EB4-3F58-4D07-BE94-4B50044B0558}"/>
              </a:ext>
            </a:extLst>
          </p:cNvPr>
          <p:cNvSpPr/>
          <p:nvPr userDrawn="1"/>
        </p:nvSpPr>
        <p:spPr>
          <a:xfrm>
            <a:off x="0" y="4515966"/>
            <a:ext cx="9144000" cy="627534"/>
          </a:xfrm>
          <a:custGeom>
            <a:avLst/>
            <a:gdLst>
              <a:gd name="connsiteX0" fmla="*/ 0 w 9144000"/>
              <a:gd name="connsiteY0" fmla="*/ 0 h 627534"/>
              <a:gd name="connsiteX1" fmla="*/ 9144000 w 9144000"/>
              <a:gd name="connsiteY1" fmla="*/ 0 h 627534"/>
              <a:gd name="connsiteX2" fmla="*/ 9144000 w 9144000"/>
              <a:gd name="connsiteY2" fmla="*/ 627534 h 627534"/>
              <a:gd name="connsiteX3" fmla="*/ 0 w 9144000"/>
              <a:gd name="connsiteY3" fmla="*/ 627534 h 627534"/>
              <a:gd name="connsiteX4" fmla="*/ 0 w 9144000"/>
              <a:gd name="connsiteY4" fmla="*/ 0 h 627534"/>
              <a:gd name="connsiteX0" fmla="*/ 0 w 9144000"/>
              <a:gd name="connsiteY0" fmla="*/ 627534 h 627534"/>
              <a:gd name="connsiteX1" fmla="*/ 9144000 w 9144000"/>
              <a:gd name="connsiteY1" fmla="*/ 0 h 627534"/>
              <a:gd name="connsiteX2" fmla="*/ 9144000 w 9144000"/>
              <a:gd name="connsiteY2" fmla="*/ 627534 h 627534"/>
              <a:gd name="connsiteX3" fmla="*/ 0 w 9144000"/>
              <a:gd name="connsiteY3" fmla="*/ 627534 h 62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27534">
                <a:moveTo>
                  <a:pt x="0" y="627534"/>
                </a:moveTo>
                <a:lnTo>
                  <a:pt x="9144000" y="0"/>
                </a:lnTo>
                <a:lnTo>
                  <a:pt x="9144000" y="627534"/>
                </a:lnTo>
                <a:lnTo>
                  <a:pt x="0" y="627534"/>
                </a:lnTo>
                <a:close/>
              </a:path>
            </a:pathLst>
          </a:custGeom>
          <a:solidFill>
            <a:srgbClr val="004962"/>
          </a:solidFill>
          <a:ln>
            <a:solidFill>
              <a:srgbClr val="0249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29B371-8DD6-4074-A004-62E190A61443}"/>
              </a:ext>
            </a:extLst>
          </p:cNvPr>
          <p:cNvSpPr txBox="1"/>
          <p:nvPr userDrawn="1"/>
        </p:nvSpPr>
        <p:spPr>
          <a:xfrm>
            <a:off x="7164288" y="4731990"/>
            <a:ext cx="17812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>
                <a:solidFill>
                  <a:srgbClr val="FFC300"/>
                </a:solidFill>
              </a:rPr>
              <a:t>#SDGSUMMIT2020</a:t>
            </a:r>
            <a:endParaRPr lang="nl-BE" sz="1600" b="0">
              <a:solidFill>
                <a:srgbClr val="FFC300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1594B0-D784-4E50-86BE-3BE96342DC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C65C722A-632B-4368-9CF4-53EA59806676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111" y="190429"/>
            <a:ext cx="474556" cy="4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467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28" r:id="rId1"/>
    <p:sldLayoutId id="2147486329" r:id="rId2"/>
    <p:sldLayoutId id="2147486330" r:id="rId3"/>
    <p:sldLayoutId id="2147486331" r:id="rId4"/>
    <p:sldLayoutId id="2147486332" r:id="rId5"/>
    <p:sldLayoutId id="2147486333" r:id="rId6"/>
    <p:sldLayoutId id="2147486334" r:id="rId7"/>
    <p:sldLayoutId id="2147486335" r:id="rId8"/>
    <p:sldLayoutId id="2147486336" r:id="rId9"/>
    <p:sldLayoutId id="2147486337" r:id="rId10"/>
    <p:sldLayoutId id="2147486338" r:id="rId11"/>
    <p:sldLayoutId id="2147486339" r:id="rId12"/>
    <p:sldLayoutId id="2147486340" r:id="rId13"/>
    <p:sldLayoutId id="2147486341" r:id="rId14"/>
    <p:sldLayoutId id="214748634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04962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F9BD0D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4962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496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rgbClr val="FFC300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02496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2942AC74-591F-8E4A-94B1-02D5D050B810}"/>
              </a:ext>
            </a:extLst>
          </p:cNvPr>
          <p:cNvGrpSpPr/>
          <p:nvPr userDrawn="1"/>
        </p:nvGrpSpPr>
        <p:grpSpPr>
          <a:xfrm rot="5400000">
            <a:off x="5039211" y="-4524915"/>
            <a:ext cx="1477785" cy="6731793"/>
            <a:chOff x="-2291223" y="-378956"/>
            <a:chExt cx="1970380" cy="897572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C344630-F2C6-6B44-BF25-FA0D6C3FA0CE}"/>
                </a:ext>
              </a:extLst>
            </p:cNvPr>
            <p:cNvSpPr/>
            <p:nvPr userDrawn="1"/>
          </p:nvSpPr>
          <p:spPr>
            <a:xfrm>
              <a:off x="-2291223" y="-378956"/>
              <a:ext cx="1970380" cy="89757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10" name="Ellipsi 28">
              <a:extLst>
                <a:ext uri="{FF2B5EF4-FFF2-40B4-BE49-F238E27FC236}">
                  <a16:creationId xmlns:a16="http://schemas.microsoft.com/office/drawing/2014/main" id="{F3F0AC9E-66AF-494F-8DFF-41330C711249}"/>
                </a:ext>
              </a:extLst>
            </p:cNvPr>
            <p:cNvSpPr/>
            <p:nvPr userDrawn="1"/>
          </p:nvSpPr>
          <p:spPr>
            <a:xfrm>
              <a:off x="-1297651" y="-80"/>
              <a:ext cx="719816" cy="697109"/>
            </a:xfrm>
            <a:prstGeom prst="ellipse">
              <a:avLst/>
            </a:prstGeom>
            <a:solidFill>
              <a:srgbClr val="FDE8ED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" name="Ellipsi 29">
              <a:extLst>
                <a:ext uri="{FF2B5EF4-FFF2-40B4-BE49-F238E27FC236}">
                  <a16:creationId xmlns:a16="http://schemas.microsoft.com/office/drawing/2014/main" id="{A11359AA-621E-3346-9DBF-AB1C0C0941D5}"/>
                </a:ext>
              </a:extLst>
            </p:cNvPr>
            <p:cNvSpPr/>
            <p:nvPr userDrawn="1"/>
          </p:nvSpPr>
          <p:spPr>
            <a:xfrm>
              <a:off x="-1297651" y="880127"/>
              <a:ext cx="719816" cy="697109"/>
            </a:xfrm>
            <a:prstGeom prst="ellipse">
              <a:avLst/>
            </a:prstGeom>
            <a:solidFill>
              <a:srgbClr val="FACDD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Ellipsi 30">
              <a:extLst>
                <a:ext uri="{FF2B5EF4-FFF2-40B4-BE49-F238E27FC236}">
                  <a16:creationId xmlns:a16="http://schemas.microsoft.com/office/drawing/2014/main" id="{2A9DC023-53D8-9344-99D2-B8E357D6D572}"/>
                </a:ext>
              </a:extLst>
            </p:cNvPr>
            <p:cNvSpPr/>
            <p:nvPr userDrawn="1"/>
          </p:nvSpPr>
          <p:spPr>
            <a:xfrm>
              <a:off x="-1297651" y="1760254"/>
              <a:ext cx="719816" cy="697109"/>
            </a:xfrm>
            <a:prstGeom prst="ellipse">
              <a:avLst/>
            </a:prstGeom>
            <a:solidFill>
              <a:srgbClr val="FFEAD3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Ellipsi 31">
              <a:extLst>
                <a:ext uri="{FF2B5EF4-FFF2-40B4-BE49-F238E27FC236}">
                  <a16:creationId xmlns:a16="http://schemas.microsoft.com/office/drawing/2014/main" id="{0A2A179C-255F-D04B-80FF-42967DB7F036}"/>
                </a:ext>
              </a:extLst>
            </p:cNvPr>
            <p:cNvSpPr/>
            <p:nvPr userDrawn="1"/>
          </p:nvSpPr>
          <p:spPr>
            <a:xfrm>
              <a:off x="-1297691" y="2640381"/>
              <a:ext cx="719816" cy="697109"/>
            </a:xfrm>
            <a:prstGeom prst="ellipse">
              <a:avLst/>
            </a:prstGeom>
            <a:solidFill>
              <a:srgbClr val="FFEF7F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Ellipsi 32">
              <a:extLst>
                <a:ext uri="{FF2B5EF4-FFF2-40B4-BE49-F238E27FC236}">
                  <a16:creationId xmlns:a16="http://schemas.microsoft.com/office/drawing/2014/main" id="{AB17063A-4624-F54B-B3EF-CE2D6E04A700}"/>
                </a:ext>
              </a:extLst>
            </p:cNvPr>
            <p:cNvSpPr/>
            <p:nvPr userDrawn="1"/>
          </p:nvSpPr>
          <p:spPr>
            <a:xfrm>
              <a:off x="-1297691" y="3520508"/>
              <a:ext cx="719816" cy="697109"/>
            </a:xfrm>
            <a:prstGeom prst="ellipse">
              <a:avLst/>
            </a:prstGeom>
            <a:solidFill>
              <a:srgbClr val="E0F3D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Ellipsi 32">
              <a:extLst>
                <a:ext uri="{FF2B5EF4-FFF2-40B4-BE49-F238E27FC236}">
                  <a16:creationId xmlns:a16="http://schemas.microsoft.com/office/drawing/2014/main" id="{830807A7-7F2F-9949-880E-4F00B349204B}"/>
                </a:ext>
              </a:extLst>
            </p:cNvPr>
            <p:cNvSpPr/>
            <p:nvPr userDrawn="1"/>
          </p:nvSpPr>
          <p:spPr>
            <a:xfrm>
              <a:off x="-1297691" y="4400635"/>
              <a:ext cx="719816" cy="697109"/>
            </a:xfrm>
            <a:prstGeom prst="ellipse">
              <a:avLst/>
            </a:prstGeom>
            <a:solidFill>
              <a:srgbClr val="BFE0D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Ellipsi 32">
              <a:extLst>
                <a:ext uri="{FF2B5EF4-FFF2-40B4-BE49-F238E27FC236}">
                  <a16:creationId xmlns:a16="http://schemas.microsoft.com/office/drawing/2014/main" id="{F5891E7E-86DE-AA41-9599-DAFDA72B46F3}"/>
                </a:ext>
              </a:extLst>
            </p:cNvPr>
            <p:cNvSpPr/>
            <p:nvPr userDrawn="1"/>
          </p:nvSpPr>
          <p:spPr>
            <a:xfrm>
              <a:off x="-1297691" y="5280762"/>
              <a:ext cx="719816" cy="697109"/>
            </a:xfrm>
            <a:prstGeom prst="ellipse">
              <a:avLst/>
            </a:prstGeom>
            <a:solidFill>
              <a:srgbClr val="D7F2FA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Ellipsi 32">
              <a:extLst>
                <a:ext uri="{FF2B5EF4-FFF2-40B4-BE49-F238E27FC236}">
                  <a16:creationId xmlns:a16="http://schemas.microsoft.com/office/drawing/2014/main" id="{A75BE3D2-9926-C94A-926D-1C717ED44BE3}"/>
                </a:ext>
              </a:extLst>
            </p:cNvPr>
            <p:cNvSpPr/>
            <p:nvPr userDrawn="1"/>
          </p:nvSpPr>
          <p:spPr>
            <a:xfrm>
              <a:off x="-1297663" y="6160891"/>
              <a:ext cx="719816" cy="697109"/>
            </a:xfrm>
            <a:prstGeom prst="ellipse">
              <a:avLst/>
            </a:prstGeom>
            <a:solidFill>
              <a:srgbClr val="C9DBEC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" name="Ellipsi 28">
              <a:extLst>
                <a:ext uri="{FF2B5EF4-FFF2-40B4-BE49-F238E27FC236}">
                  <a16:creationId xmlns:a16="http://schemas.microsoft.com/office/drawing/2014/main" id="{7A383D4D-06B8-9948-AF8E-B78F441800DF}"/>
                </a:ext>
              </a:extLst>
            </p:cNvPr>
            <p:cNvSpPr/>
            <p:nvPr userDrawn="1"/>
          </p:nvSpPr>
          <p:spPr>
            <a:xfrm>
              <a:off x="-1749222" y="-74"/>
              <a:ext cx="719816" cy="697109"/>
            </a:xfrm>
            <a:prstGeom prst="ellipse">
              <a:avLst/>
            </a:prstGeom>
            <a:solidFill>
              <a:srgbClr val="FBD1DC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" name="Ellipsi 29">
              <a:extLst>
                <a:ext uri="{FF2B5EF4-FFF2-40B4-BE49-F238E27FC236}">
                  <a16:creationId xmlns:a16="http://schemas.microsoft.com/office/drawing/2014/main" id="{10B226F3-256B-C149-9FE4-2169AC8BAA77}"/>
                </a:ext>
              </a:extLst>
            </p:cNvPr>
            <p:cNvSpPr/>
            <p:nvPr userDrawn="1"/>
          </p:nvSpPr>
          <p:spPr>
            <a:xfrm>
              <a:off x="-1749222" y="880127"/>
              <a:ext cx="719816" cy="697109"/>
            </a:xfrm>
            <a:prstGeom prst="ellipse">
              <a:avLst/>
            </a:prstGeom>
            <a:solidFill>
              <a:srgbClr val="E8114B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" name="Ellipsi 30">
              <a:extLst>
                <a:ext uri="{FF2B5EF4-FFF2-40B4-BE49-F238E27FC236}">
                  <a16:creationId xmlns:a16="http://schemas.microsoft.com/office/drawing/2014/main" id="{1E241F7E-51AD-624C-9C6B-71BB4FDD86EF}"/>
                </a:ext>
              </a:extLst>
            </p:cNvPr>
            <p:cNvSpPr/>
            <p:nvPr userDrawn="1"/>
          </p:nvSpPr>
          <p:spPr>
            <a:xfrm>
              <a:off x="-1749222" y="1760254"/>
              <a:ext cx="719816" cy="697109"/>
            </a:xfrm>
            <a:prstGeom prst="ellipse">
              <a:avLst/>
            </a:prstGeom>
            <a:solidFill>
              <a:srgbClr val="FF9F3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" name="Ellipsi 31">
              <a:extLst>
                <a:ext uri="{FF2B5EF4-FFF2-40B4-BE49-F238E27FC236}">
                  <a16:creationId xmlns:a16="http://schemas.microsoft.com/office/drawing/2014/main" id="{5DA7310D-F100-154F-9FD8-680FC89BCEBE}"/>
                </a:ext>
              </a:extLst>
            </p:cNvPr>
            <p:cNvSpPr/>
            <p:nvPr userDrawn="1"/>
          </p:nvSpPr>
          <p:spPr>
            <a:xfrm>
              <a:off x="-1749236" y="2640381"/>
              <a:ext cx="719816" cy="697109"/>
            </a:xfrm>
            <a:prstGeom prst="ellipse">
              <a:avLst/>
            </a:prstGeom>
            <a:solidFill>
              <a:srgbClr val="FFE00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" name="Ellipsi 32">
              <a:extLst>
                <a:ext uri="{FF2B5EF4-FFF2-40B4-BE49-F238E27FC236}">
                  <a16:creationId xmlns:a16="http://schemas.microsoft.com/office/drawing/2014/main" id="{7C47C4D0-D638-4744-8600-7DCFD3641E4D}"/>
                </a:ext>
              </a:extLst>
            </p:cNvPr>
            <p:cNvSpPr/>
            <p:nvPr userDrawn="1"/>
          </p:nvSpPr>
          <p:spPr>
            <a:xfrm>
              <a:off x="-1749236" y="3520508"/>
              <a:ext cx="719816" cy="697109"/>
            </a:xfrm>
            <a:prstGeom prst="ellipse">
              <a:avLst/>
            </a:prstGeom>
            <a:solidFill>
              <a:srgbClr val="73C92D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Ellipsi 32">
              <a:extLst>
                <a:ext uri="{FF2B5EF4-FFF2-40B4-BE49-F238E27FC236}">
                  <a16:creationId xmlns:a16="http://schemas.microsoft.com/office/drawing/2014/main" id="{36513781-BCA3-1F42-BD7B-76EC009BCD7B}"/>
                </a:ext>
              </a:extLst>
            </p:cNvPr>
            <p:cNvSpPr/>
            <p:nvPr userDrawn="1"/>
          </p:nvSpPr>
          <p:spPr>
            <a:xfrm>
              <a:off x="-1749236" y="4400635"/>
              <a:ext cx="719816" cy="697109"/>
            </a:xfrm>
            <a:prstGeom prst="ellipse">
              <a:avLst/>
            </a:prstGeom>
            <a:solidFill>
              <a:srgbClr val="00854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" name="Ellipsi 32">
              <a:extLst>
                <a:ext uri="{FF2B5EF4-FFF2-40B4-BE49-F238E27FC236}">
                  <a16:creationId xmlns:a16="http://schemas.microsoft.com/office/drawing/2014/main" id="{E5A022FD-A22F-C84B-90E8-C84F58039CCA}"/>
                </a:ext>
              </a:extLst>
            </p:cNvPr>
            <p:cNvSpPr/>
            <p:nvPr userDrawn="1"/>
          </p:nvSpPr>
          <p:spPr>
            <a:xfrm>
              <a:off x="-1749236" y="5280762"/>
              <a:ext cx="719816" cy="697109"/>
            </a:xfrm>
            <a:prstGeom prst="ellipse">
              <a:avLst/>
            </a:prstGeom>
            <a:solidFill>
              <a:srgbClr val="75CFEB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" name="Ellipsi 32">
              <a:extLst>
                <a:ext uri="{FF2B5EF4-FFF2-40B4-BE49-F238E27FC236}">
                  <a16:creationId xmlns:a16="http://schemas.microsoft.com/office/drawing/2014/main" id="{EDB9634E-0B79-CD48-B1D8-F8816D614AEB}"/>
                </a:ext>
              </a:extLst>
            </p:cNvPr>
            <p:cNvSpPr/>
            <p:nvPr userDrawn="1"/>
          </p:nvSpPr>
          <p:spPr>
            <a:xfrm>
              <a:off x="-1749226" y="6160891"/>
              <a:ext cx="719816" cy="697109"/>
            </a:xfrm>
            <a:prstGeom prst="ellipse">
              <a:avLst/>
            </a:prstGeom>
            <a:solidFill>
              <a:srgbClr val="367ABA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8BBE36-0E53-8C44-A477-4D352CEC3254}"/>
                </a:ext>
              </a:extLst>
            </p:cNvPr>
            <p:cNvSpPr txBox="1"/>
            <p:nvPr userDrawn="1"/>
          </p:nvSpPr>
          <p:spPr>
            <a:xfrm rot="16200000">
              <a:off x="-1977823" y="7117573"/>
              <a:ext cx="1221261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FI" sz="1200" b="0" i="0" dirty="0">
                  <a:latin typeface="+mn-lt"/>
                </a:rPr>
                <a:t>Sitran väripaletti. Nappaa väri pipetillä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F3FA64-3732-8A45-A7C2-8EAB4290F358}"/>
                </a:ext>
              </a:extLst>
            </p:cNvPr>
            <p:cNvSpPr txBox="1"/>
            <p:nvPr userDrawn="1"/>
          </p:nvSpPr>
          <p:spPr>
            <a:xfrm rot="16200000">
              <a:off x="-2443801" y="6429331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Mustikka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6B07822-BAE3-F044-A860-7D548ECDB061}"/>
                </a:ext>
              </a:extLst>
            </p:cNvPr>
            <p:cNvSpPr txBox="1"/>
            <p:nvPr userDrawn="1"/>
          </p:nvSpPr>
          <p:spPr>
            <a:xfrm rot="16200000">
              <a:off x="-2443801" y="55606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>
                  <a:latin typeface="+mn-lt"/>
                </a:rPr>
                <a:t>Tellus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5EE0087-1CE7-B046-8FC6-E5FD942E3708}"/>
                </a:ext>
              </a:extLst>
            </p:cNvPr>
            <p:cNvSpPr txBox="1"/>
            <p:nvPr userDrawn="1"/>
          </p:nvSpPr>
          <p:spPr>
            <a:xfrm rot="16200000">
              <a:off x="-2443801" y="4675341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Havu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2D49530-5F92-0349-99E1-9F2629D5FF59}"/>
                </a:ext>
              </a:extLst>
            </p:cNvPr>
            <p:cNvSpPr txBox="1"/>
            <p:nvPr userDrawn="1"/>
          </p:nvSpPr>
          <p:spPr>
            <a:xfrm rot="16200000">
              <a:off x="-2443801" y="37858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Kerkkä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CD66CD-35DA-DE42-AFAA-77D342190B97}"/>
                </a:ext>
              </a:extLst>
            </p:cNvPr>
            <p:cNvSpPr txBox="1"/>
            <p:nvPr userDrawn="1"/>
          </p:nvSpPr>
          <p:spPr>
            <a:xfrm rot="16200000">
              <a:off x="-2443801" y="2921749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Voikukka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C51FE8-ED43-FB40-8C6B-1E94B8B33A2D}"/>
                </a:ext>
              </a:extLst>
            </p:cNvPr>
            <p:cNvSpPr txBox="1"/>
            <p:nvPr userDrawn="1"/>
          </p:nvSpPr>
          <p:spPr>
            <a:xfrm rot="16200000">
              <a:off x="-2443801" y="20364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Tyrni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40C15AF-77BF-494B-8532-A52982A39E8F}"/>
                </a:ext>
              </a:extLst>
            </p:cNvPr>
            <p:cNvSpPr txBox="1"/>
            <p:nvPr userDrawn="1"/>
          </p:nvSpPr>
          <p:spPr>
            <a:xfrm rot="16200000">
              <a:off x="-2443801" y="1155457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Puolukka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44A8471-398C-EE46-9C24-25F675BA8E5F}"/>
                </a:ext>
              </a:extLst>
            </p:cNvPr>
            <p:cNvSpPr txBox="1"/>
            <p:nvPr userDrawn="1"/>
          </p:nvSpPr>
          <p:spPr>
            <a:xfrm rot="16200000">
              <a:off x="-2359158" y="181322"/>
              <a:ext cx="812801" cy="338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825" b="0" i="0" dirty="0">
                  <a:latin typeface="+mn-lt"/>
                </a:rPr>
                <a:t>Mansikka</a:t>
              </a:r>
            </a:p>
            <a:p>
              <a:pPr algn="ctr"/>
              <a:r>
                <a:rPr lang="fi-FI" sz="825" b="0" i="0" dirty="0" err="1">
                  <a:latin typeface="+mn-lt"/>
                </a:rPr>
                <a:t>smoothie</a:t>
              </a:r>
              <a:endParaRPr lang="en-FI" sz="825" b="0" i="0" dirty="0">
                <a:latin typeface="+mn-l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A1888C-BCE9-0640-B4D3-3EBF7BF68556}"/>
                </a:ext>
              </a:extLst>
            </p:cNvPr>
            <p:cNvSpPr txBox="1"/>
            <p:nvPr userDrawn="1"/>
          </p:nvSpPr>
          <p:spPr>
            <a:xfrm rot="16200000">
              <a:off x="-1726635" y="6150296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825" b="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7A5C2D2-07FE-DA47-9E5C-4C9529C615C0}"/>
                </a:ext>
              </a:extLst>
            </p:cNvPr>
            <p:cNvSpPr txBox="1"/>
            <p:nvPr userDrawn="1"/>
          </p:nvSpPr>
          <p:spPr>
            <a:xfrm rot="16200000">
              <a:off x="-1726635" y="5306214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825" b="0" i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58DC66A-05B9-8547-BD04-E3557F77FAB8}"/>
                </a:ext>
              </a:extLst>
            </p:cNvPr>
            <p:cNvSpPr txBox="1"/>
            <p:nvPr userDrawn="1"/>
          </p:nvSpPr>
          <p:spPr>
            <a:xfrm rot="16200000">
              <a:off x="-1726635" y="4402929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825" b="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7235BB5-E89A-A241-8A3D-BF8C98F2C2D8}"/>
                </a:ext>
              </a:extLst>
            </p:cNvPr>
            <p:cNvSpPr txBox="1"/>
            <p:nvPr userDrawn="1"/>
          </p:nvSpPr>
          <p:spPr>
            <a:xfrm rot="16200000">
              <a:off x="-1726635" y="3506014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825" b="0" i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1F7AE7A-C9D8-2A49-B80B-2E9C2CEC2DD5}"/>
                </a:ext>
              </a:extLst>
            </p:cNvPr>
            <p:cNvSpPr txBox="1"/>
            <p:nvPr userDrawn="1"/>
          </p:nvSpPr>
          <p:spPr>
            <a:xfrm rot="16200000">
              <a:off x="-1726635" y="264191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825" b="0" i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732FCE3-6B39-254A-9F27-01493F244E81}"/>
                </a:ext>
              </a:extLst>
            </p:cNvPr>
            <p:cNvSpPr txBox="1"/>
            <p:nvPr userDrawn="1"/>
          </p:nvSpPr>
          <p:spPr>
            <a:xfrm rot="16200000">
              <a:off x="-1726635" y="1777822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825" b="0" i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4B9DA97-F029-2A4F-A8A8-BE7A84A17DFB}"/>
                </a:ext>
              </a:extLst>
            </p:cNvPr>
            <p:cNvSpPr txBox="1"/>
            <p:nvPr userDrawn="1"/>
          </p:nvSpPr>
          <p:spPr>
            <a:xfrm rot="16200000">
              <a:off x="-1726635" y="84171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825" b="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01446F1-F283-9B42-80CC-74D4AB06A0A2}"/>
                </a:ext>
              </a:extLst>
            </p:cNvPr>
            <p:cNvSpPr txBox="1"/>
            <p:nvPr userDrawn="1"/>
          </p:nvSpPr>
          <p:spPr>
            <a:xfrm rot="16200000">
              <a:off x="-1726635" y="-2237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825" b="0" i="0" dirty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825" b="0" i="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94033F7A-8E83-E04D-AB41-5D7A99CFE14D}"/>
              </a:ext>
            </a:extLst>
          </p:cNvPr>
          <p:cNvSpPr/>
          <p:nvPr userDrawn="1"/>
        </p:nvSpPr>
        <p:spPr>
          <a:xfrm rot="5400000">
            <a:off x="197315" y="-2094474"/>
            <a:ext cx="1477785" cy="1870911"/>
          </a:xfrm>
          <a:prstGeom prst="rect">
            <a:avLst/>
          </a:prstGeom>
          <a:solidFill>
            <a:srgbClr val="E8114B"/>
          </a:solidFill>
          <a:ln w="12700">
            <a:noFill/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0ABD6-61E1-9545-A711-E47F43669A49}"/>
              </a:ext>
            </a:extLst>
          </p:cNvPr>
          <p:cNvSpPr txBox="1"/>
          <p:nvPr userDrawn="1"/>
        </p:nvSpPr>
        <p:spPr>
          <a:xfrm>
            <a:off x="261606" y="-1618434"/>
            <a:ext cx="133712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FI" sz="1200" b="0" i="0" dirty="0">
                <a:solidFill>
                  <a:schemeClr val="bg1"/>
                </a:solidFill>
                <a:latin typeface="+mn-lt"/>
              </a:rPr>
              <a:t>Muista säilyttää </a:t>
            </a:r>
            <a:r>
              <a:rPr lang="en-FI" sz="1200" b="0" i="0" dirty="0">
                <a:solidFill>
                  <a:schemeClr val="bg1"/>
                </a:solidFill>
                <a:latin typeface="+mj-lt"/>
              </a:rPr>
              <a:t>kohteen</a:t>
            </a:r>
            <a:r>
              <a:rPr lang="en-FI" sz="12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FI" sz="1200" b="0" i="0" dirty="0">
                <a:solidFill>
                  <a:schemeClr val="bg1"/>
                </a:solidFill>
                <a:latin typeface="+mj-lt"/>
              </a:rPr>
              <a:t>teema </a:t>
            </a:r>
            <a:r>
              <a:rPr lang="en-FI" sz="1200" b="0" i="0" dirty="0">
                <a:solidFill>
                  <a:schemeClr val="bg1"/>
                </a:solidFill>
                <a:latin typeface="+mn-lt"/>
              </a:rPr>
              <a:t>jos tuot vanhoja kalvoja osaksi esitystäsi!</a:t>
            </a:r>
          </a:p>
        </p:txBody>
      </p:sp>
    </p:spTree>
    <p:extLst>
      <p:ext uri="{BB962C8B-B14F-4D97-AF65-F5344CB8AC3E}">
        <p14:creationId xmlns:p14="http://schemas.microsoft.com/office/powerpoint/2010/main" val="65386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4" r:id="rId1"/>
    <p:sldLayoutId id="2147486345" r:id="rId2"/>
    <p:sldLayoutId id="2147486346" r:id="rId3"/>
    <p:sldLayoutId id="2147486347" r:id="rId4"/>
    <p:sldLayoutId id="2147486348" r:id="rId5"/>
    <p:sldLayoutId id="2147486349" r:id="rId6"/>
    <p:sldLayoutId id="2147486350" r:id="rId7"/>
    <p:sldLayoutId id="2147486351" r:id="rId8"/>
    <p:sldLayoutId id="2147486352" r:id="rId9"/>
    <p:sldLayoutId id="2147486353" r:id="rId10"/>
    <p:sldLayoutId id="2147486354" r:id="rId11"/>
    <p:sldLayoutId id="2147486355" r:id="rId12"/>
    <p:sldLayoutId id="2147486356" r:id="rId13"/>
    <p:sldLayoutId id="2147486357" r:id="rId14"/>
    <p:sldLayoutId id="2147486358" r:id="rId15"/>
    <p:sldLayoutId id="2147486359" r:id="rId16"/>
    <p:sldLayoutId id="2147486360" r:id="rId17"/>
    <p:sldLayoutId id="2147486361" r:id="rId18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4" indent="-179384" algn="l" defTabSz="457189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79" indent="-17779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61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07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754" indent="0" algn="ctr" defTabSz="457189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386">
          <p15:clr>
            <a:srgbClr val="F26B43"/>
          </p15:clr>
        </p15:guide>
        <p15:guide id="4" pos="2933">
          <p15:clr>
            <a:srgbClr val="F26B43"/>
          </p15:clr>
        </p15:guide>
        <p15:guide id="5" pos="2479">
          <p15:clr>
            <a:srgbClr val="F26B43"/>
          </p15:clr>
        </p15:guide>
        <p15:guide id="6" pos="2026">
          <p15:clr>
            <a:srgbClr val="F26B43"/>
          </p15:clr>
        </p15:guide>
        <p15:guide id="7" pos="1572">
          <p15:clr>
            <a:srgbClr val="F26B43"/>
          </p15:clr>
        </p15:guide>
        <p15:guide id="8" pos="1118">
          <p15:clr>
            <a:srgbClr val="F26B43"/>
          </p15:clr>
        </p15:guide>
        <p15:guide id="9" pos="665">
          <p15:clr>
            <a:srgbClr val="F26B43"/>
          </p15:clr>
        </p15:guide>
        <p15:guide id="10" pos="211">
          <p15:clr>
            <a:srgbClr val="F26B43"/>
          </p15:clr>
        </p15:guide>
        <p15:guide id="11" pos="4294">
          <p15:clr>
            <a:srgbClr val="F26B43"/>
          </p15:clr>
        </p15:guide>
        <p15:guide id="12" pos="4747">
          <p15:clr>
            <a:srgbClr val="F26B43"/>
          </p15:clr>
        </p15:guide>
        <p15:guide id="13" pos="5201">
          <p15:clr>
            <a:srgbClr val="F26B43"/>
          </p15:clr>
        </p15:guide>
        <p15:guide id="14" pos="5654">
          <p15:clr>
            <a:srgbClr val="F26B43"/>
          </p15:clr>
        </p15:guide>
        <p15:guide id="15" pos="6108">
          <p15:clr>
            <a:srgbClr val="F26B43"/>
          </p15:clr>
        </p15:guide>
        <p15:guide id="16" pos="6562">
          <p15:clr>
            <a:srgbClr val="F26B43"/>
          </p15:clr>
        </p15:guide>
        <p15:guide id="17" pos="7015">
          <p15:clr>
            <a:srgbClr val="F26B43"/>
          </p15:clr>
        </p15:guide>
        <p15:guide id="18" pos="7469">
          <p15:clr>
            <a:srgbClr val="F26B43"/>
          </p15:clr>
        </p15:guide>
        <p15:guide id="19" orient="horz" pos="1706">
          <p15:clr>
            <a:srgbClr val="F26B43"/>
          </p15:clr>
        </p15:guide>
        <p15:guide id="20" orient="horz" pos="1253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346">
          <p15:clr>
            <a:srgbClr val="F26B43"/>
          </p15:clr>
        </p15:guide>
        <p15:guide id="23" orient="horz" pos="2614">
          <p15:clr>
            <a:srgbClr val="F26B43"/>
          </p15:clr>
        </p15:guide>
        <p15:guide id="24" orient="horz" pos="3067">
          <p15:clr>
            <a:srgbClr val="F26B43"/>
          </p15:clr>
        </p15:guide>
        <p15:guide id="25" orient="horz" pos="3521">
          <p15:clr>
            <a:srgbClr val="F26B43"/>
          </p15:clr>
        </p15:guide>
        <p15:guide id="26" orient="horz" pos="3974">
          <p15:clr>
            <a:srgbClr val="F26B43"/>
          </p15:clr>
        </p15:guide>
        <p15:guide id="27" orient="horz" pos="119">
          <p15:clr>
            <a:srgbClr val="F26B43"/>
          </p15:clr>
        </p15:guide>
        <p15:guide id="28" orient="horz" pos="232">
          <p15:clr>
            <a:srgbClr val="F26B43"/>
          </p15:clr>
        </p15:guide>
        <p15:guide id="30" orient="horz">
          <p15:clr>
            <a:srgbClr val="F26B43"/>
          </p15:clr>
        </p15:guide>
        <p15:guide id="31" orient="horz" pos="4088">
          <p15:clr>
            <a:srgbClr val="F26B43"/>
          </p15:clr>
        </p15:guide>
        <p15:guide id="33" orient="horz" pos="4201">
          <p15:clr>
            <a:srgbClr val="F26B43"/>
          </p15:clr>
        </p15:guide>
        <p15:guide id="34" orient="horz" pos="4320">
          <p15:clr>
            <a:srgbClr val="F26B43"/>
          </p15:clr>
        </p15:guide>
        <p15:guide id="35" pos="7582">
          <p15:clr>
            <a:srgbClr val="F26B43"/>
          </p15:clr>
        </p15:guide>
        <p15:guide id="37" pos="98">
          <p15:clr>
            <a:srgbClr val="F26B43"/>
          </p15:clr>
        </p15:guide>
        <p15:guide id="39">
          <p15:clr>
            <a:srgbClr val="F26B43"/>
          </p15:clr>
        </p15:guide>
        <p15:guide id="40" pos="768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A0A1CC-CAE3-49DE-9602-A242FFC53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85752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20" imgW="592" imgH="591" progId="TCLayout.ActiveDocument.1">
                  <p:embed/>
                </p:oleObj>
              </mc:Choice>
              <mc:Fallback>
                <p:oleObj name="think-cell Slide" r:id="rId2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A0A1CC-CAE3-49DE-9602-A242FFC53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45023B-712F-481F-84DE-A62F1E47AD8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2400" b="0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  <a:p>
            <a:pPr lvl="3"/>
            <a:r>
              <a:rPr lang="fi-FI" err="1"/>
              <a:t>Four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  <a:p>
            <a:pPr lvl="0"/>
            <a:endParaRPr lang="fi-FI"/>
          </a:p>
          <a:p>
            <a:pPr lvl="0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13112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3" r:id="rId1"/>
    <p:sldLayoutId id="2147486364" r:id="rId2"/>
    <p:sldLayoutId id="2147486365" r:id="rId3"/>
    <p:sldLayoutId id="2147486366" r:id="rId4"/>
    <p:sldLayoutId id="2147486367" r:id="rId5"/>
    <p:sldLayoutId id="2147486368" r:id="rId6"/>
    <p:sldLayoutId id="2147486369" r:id="rId7"/>
    <p:sldLayoutId id="2147486370" r:id="rId8"/>
    <p:sldLayoutId id="2147486371" r:id="rId9"/>
    <p:sldLayoutId id="2147486372" r:id="rId10"/>
    <p:sldLayoutId id="2147486373" r:id="rId11"/>
    <p:sldLayoutId id="2147486374" r:id="rId12"/>
    <p:sldLayoutId id="2147486375" r:id="rId13"/>
    <p:sldLayoutId id="2147486376" r:id="rId14"/>
    <p:sldLayoutId id="2147486377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96D8E4-646B-4D1C-AFFF-23F148DCF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588243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20" imgW="359" imgH="360" progId="TCLayout.ActiveDocument.1">
                  <p:embed/>
                </p:oleObj>
              </mc:Choice>
              <mc:Fallback>
                <p:oleObj name="think-cell Slide" r:id="rId20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96D8E4-646B-4D1C-AFFF-23F148DCF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68C34A-13F9-465C-A30F-92A4CD9487B3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  <a:p>
            <a:pPr lvl="3"/>
            <a:r>
              <a:rPr lang="fi-FI" err="1"/>
              <a:t>Four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  <a:p>
            <a:pPr lvl="0"/>
            <a:endParaRPr lang="fi-FI"/>
          </a:p>
          <a:p>
            <a:pPr lvl="0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383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9" r:id="rId1"/>
    <p:sldLayoutId id="2147486380" r:id="rId2"/>
    <p:sldLayoutId id="2147486381" r:id="rId3"/>
    <p:sldLayoutId id="2147486382" r:id="rId4"/>
    <p:sldLayoutId id="2147486383" r:id="rId5"/>
    <p:sldLayoutId id="2147486384" r:id="rId6"/>
    <p:sldLayoutId id="2147486385" r:id="rId7"/>
    <p:sldLayoutId id="2147486386" r:id="rId8"/>
    <p:sldLayoutId id="2147486387" r:id="rId9"/>
    <p:sldLayoutId id="2147486388" r:id="rId10"/>
    <p:sldLayoutId id="2147486389" r:id="rId11"/>
    <p:sldLayoutId id="2147486390" r:id="rId12"/>
    <p:sldLayoutId id="2147486391" r:id="rId13"/>
    <p:sldLayoutId id="2147486392" r:id="rId14"/>
    <p:sldLayoutId id="2147486393" r:id="rId15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4" indent="-179384" algn="l" defTabSz="457189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79" indent="-17779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61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07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754" indent="0" algn="ctr" defTabSz="457189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96D8E4-646B-4D1C-AFFF-23F148DCF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6758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20" imgW="359" imgH="360" progId="TCLayout.ActiveDocument.1">
                  <p:embed/>
                </p:oleObj>
              </mc:Choice>
              <mc:Fallback>
                <p:oleObj name="think-cell Slide" r:id="rId20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96D8E4-646B-4D1C-AFFF-23F148DCF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68C34A-13F9-465C-A30F-92A4CD9487B3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  <a:p>
            <a:pPr lvl="3"/>
            <a:r>
              <a:rPr lang="fi-FI" err="1"/>
              <a:t>Four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  <a:p>
            <a:pPr lvl="0"/>
            <a:endParaRPr lang="fi-FI"/>
          </a:p>
          <a:p>
            <a:pPr lvl="0"/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D90D5-115D-4F7A-BA77-BA606CBF5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4" y="473868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5E79E3-17E5-4B5A-8CE4-FA5A82716DF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3131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5" r:id="rId1"/>
    <p:sldLayoutId id="2147486396" r:id="rId2"/>
    <p:sldLayoutId id="2147486397" r:id="rId3"/>
    <p:sldLayoutId id="2147486398" r:id="rId4"/>
    <p:sldLayoutId id="2147486399" r:id="rId5"/>
    <p:sldLayoutId id="2147486400" r:id="rId6"/>
    <p:sldLayoutId id="2147486401" r:id="rId7"/>
    <p:sldLayoutId id="2147486402" r:id="rId8"/>
    <p:sldLayoutId id="2147486403" r:id="rId9"/>
    <p:sldLayoutId id="2147486404" r:id="rId10"/>
    <p:sldLayoutId id="2147486405" r:id="rId11"/>
    <p:sldLayoutId id="2147486406" r:id="rId12"/>
    <p:sldLayoutId id="2147486407" r:id="rId13"/>
    <p:sldLayoutId id="2147486408" r:id="rId14"/>
    <p:sldLayoutId id="2147486409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 noProof="0"/>
              <a:t>Muokkaa perustyyl. napsautt.</a:t>
            </a:r>
            <a:endParaRPr lang="en-GB" noProof="0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0"/>
            <a:endParaRPr lang="en-GB" noProof="0" dirty="0"/>
          </a:p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6942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4" r:id="rId1"/>
    <p:sldLayoutId id="2147486105" r:id="rId2"/>
    <p:sldLayoutId id="2147486106" r:id="rId3"/>
    <p:sldLayoutId id="2147486107" r:id="rId4"/>
    <p:sldLayoutId id="2147486108" r:id="rId5"/>
    <p:sldLayoutId id="2147486109" r:id="rId6"/>
    <p:sldLayoutId id="2147486110" r:id="rId7"/>
    <p:sldLayoutId id="2147486111" r:id="rId8"/>
    <p:sldLayoutId id="2147486112" r:id="rId9"/>
    <p:sldLayoutId id="2147486113" r:id="rId10"/>
    <p:sldLayoutId id="2147486114" r:id="rId11"/>
    <p:sldLayoutId id="2147486115" r:id="rId12"/>
    <p:sldLayoutId id="2147486116" r:id="rId13"/>
    <p:sldLayoutId id="2147486117" r:id="rId14"/>
    <p:sldLayoutId id="2147486306" r:id="rId15"/>
    <p:sldLayoutId id="2147486309" r:id="rId16"/>
    <p:sldLayoutId id="214748631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0"/>
            <a:endParaRPr lang="fi-FI" dirty="0"/>
          </a:p>
          <a:p>
            <a:pPr lvl="0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8389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28" r:id="rId1"/>
    <p:sldLayoutId id="2147486129" r:id="rId2"/>
    <p:sldLayoutId id="2147486130" r:id="rId3"/>
    <p:sldLayoutId id="2147486131" r:id="rId4"/>
    <p:sldLayoutId id="2147486132" r:id="rId5"/>
    <p:sldLayoutId id="2147486133" r:id="rId6"/>
    <p:sldLayoutId id="2147486134" r:id="rId7"/>
    <p:sldLayoutId id="2147486135" r:id="rId8"/>
    <p:sldLayoutId id="2147486136" r:id="rId9"/>
    <p:sldLayoutId id="2147486137" r:id="rId10"/>
    <p:sldLayoutId id="2147486138" r:id="rId11"/>
    <p:sldLayoutId id="2147486139" r:id="rId12"/>
    <p:sldLayoutId id="2147486140" r:id="rId13"/>
    <p:sldLayoutId id="2147486141" r:id="rId1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 noProof="0"/>
              <a:t>Muokkaa ots. perustyyl. napsautt.</a:t>
            </a:r>
            <a:endParaRPr lang="en-GB" noProof="0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0"/>
            <a:endParaRPr lang="en-GB" noProof="0" dirty="0"/>
          </a:p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43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43" r:id="rId1"/>
    <p:sldLayoutId id="2147486144" r:id="rId2"/>
    <p:sldLayoutId id="2147486145" r:id="rId3"/>
    <p:sldLayoutId id="2147486146" r:id="rId4"/>
    <p:sldLayoutId id="2147486147" r:id="rId5"/>
    <p:sldLayoutId id="2147486148" r:id="rId6"/>
    <p:sldLayoutId id="2147486149" r:id="rId7"/>
    <p:sldLayoutId id="2147486150" r:id="rId8"/>
    <p:sldLayoutId id="2147486151" r:id="rId9"/>
    <p:sldLayoutId id="2147486152" r:id="rId10"/>
    <p:sldLayoutId id="2147486153" r:id="rId11"/>
    <p:sldLayoutId id="2147486154" r:id="rId12"/>
    <p:sldLayoutId id="2147486155" r:id="rId13"/>
    <p:sldLayoutId id="2147486156" r:id="rId14"/>
    <p:sldLayoutId id="2147486157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0"/>
            <a:endParaRPr lang="en-GB" noProof="0"/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9392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59" r:id="rId1"/>
    <p:sldLayoutId id="2147486160" r:id="rId2"/>
    <p:sldLayoutId id="2147486161" r:id="rId3"/>
    <p:sldLayoutId id="2147486162" r:id="rId4"/>
    <p:sldLayoutId id="2147486163" r:id="rId5"/>
    <p:sldLayoutId id="2147486164" r:id="rId6"/>
    <p:sldLayoutId id="2147486165" r:id="rId7"/>
    <p:sldLayoutId id="2147486166" r:id="rId8"/>
    <p:sldLayoutId id="2147486167" r:id="rId9"/>
    <p:sldLayoutId id="2147486168" r:id="rId10"/>
    <p:sldLayoutId id="2147486169" r:id="rId11"/>
    <p:sldLayoutId id="2147486170" r:id="rId12"/>
    <p:sldLayoutId id="2147486171" r:id="rId13"/>
    <p:sldLayoutId id="2147486172" r:id="rId14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4" indent="-179384" algn="l" defTabSz="457189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79" indent="-17779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61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07" indent="-171446" algn="l" defTabSz="457189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754" indent="0" algn="ctr" defTabSz="457189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1025" y="865439"/>
            <a:ext cx="7375072" cy="771525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1025" y="1757577"/>
            <a:ext cx="7375072" cy="2571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8574245" y="4739027"/>
            <a:ext cx="277586" cy="277586"/>
          </a:xfrm>
          <a:prstGeom prst="ellipse">
            <a:avLst/>
          </a:prstGeom>
          <a:solidFill>
            <a:srgbClr val="1E2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520388" y="4792634"/>
            <a:ext cx="385301" cy="170373"/>
          </a:xfrm>
          <a:prstGeom prst="rect">
            <a:avLst/>
          </a:prstGeom>
          <a:noFill/>
        </p:spPr>
        <p:txBody>
          <a:bodyPr vert="horz" wrap="square" lIns="0" tIns="0" rIns="0" bIns="0" rtlCol="0" anchor="ctr"/>
          <a:lstStyle>
            <a:lvl1pPr algn="ctr">
              <a:defRPr sz="602" b="0" i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3F8FBF-0CA9-7D44-9C23-E0C23578A643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73" y="4641497"/>
            <a:ext cx="1033703" cy="48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520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6" r:id="rId1"/>
    <p:sldLayoutId id="2147486187" r:id="rId2"/>
    <p:sldLayoutId id="2147486188" r:id="rId3"/>
    <p:sldLayoutId id="2147486189" r:id="rId4"/>
    <p:sldLayoutId id="2147486190" r:id="rId5"/>
    <p:sldLayoutId id="2147486191" r:id="rId6"/>
    <p:sldLayoutId id="2147486192" r:id="rId7"/>
    <p:sldLayoutId id="2147486193" r:id="rId8"/>
    <p:sldLayoutId id="2147486194" r:id="rId9"/>
    <p:sldLayoutId id="2147486195" r:id="rId10"/>
    <p:sldLayoutId id="2147486196" r:id="rId11"/>
    <p:sldLayoutId id="2147486197" r:id="rId12"/>
    <p:sldLayoutId id="2147486198" r:id="rId13"/>
    <p:sldLayoutId id="2147486199" r:id="rId14"/>
    <p:sldLayoutId id="2147486200" r:id="rId15"/>
    <p:sldLayoutId id="2147486201" r:id="rId16"/>
    <p:sldLayoutId id="2147486202" r:id="rId17"/>
    <p:sldLayoutId id="2147486203" r:id="rId18"/>
    <p:sldLayoutId id="2147486204" r:id="rId19"/>
    <p:sldLayoutId id="2147486205" r:id="rId20"/>
    <p:sldLayoutId id="2147486206" r:id="rId21"/>
    <p:sldLayoutId id="2147486207" r:id="rId22"/>
    <p:sldLayoutId id="2147486208" r:id="rId23"/>
    <p:sldLayoutId id="2147486209" r:id="rId24"/>
    <p:sldLayoutId id="2147486210" r:id="rId25"/>
    <p:sldLayoutId id="2147486211" r:id="rId26"/>
    <p:sldLayoutId id="2147486212" r:id="rId27"/>
    <p:sldLayoutId id="2147486213" r:id="rId28"/>
    <p:sldLayoutId id="2147486214" r:id="rId29"/>
    <p:sldLayoutId id="2147486215" r:id="rId30"/>
    <p:sldLayoutId id="2147486216" r:id="rId31"/>
    <p:sldLayoutId id="2147486217" r:id="rId32"/>
    <p:sldLayoutId id="2147486218" r:id="rId33"/>
    <p:sldLayoutId id="2147486219" r:id="rId34"/>
    <p:sldLayoutId id="2147486220" r:id="rId35"/>
    <p:sldLayoutId id="2147486221" r:id="rId36"/>
    <p:sldLayoutId id="2147486222" r:id="rId37"/>
    <p:sldLayoutId id="2147486223" r:id="rId38"/>
    <p:sldLayoutId id="2147486224" r:id="rId39"/>
    <p:sldLayoutId id="2147486225" r:id="rId40"/>
    <p:sldLayoutId id="2147486226" r:id="rId41"/>
    <p:sldLayoutId id="2147486227" r:id="rId42"/>
  </p:sldLayoutIdLst>
  <p:hf hdr="0" ftr="0"/>
  <p:txStyles>
    <p:titleStyle>
      <a:lvl1pPr algn="l" defTabSz="685739" rtl="0" eaLnBrk="1" latinLnBrk="0" hangingPunct="1">
        <a:lnSpc>
          <a:spcPct val="75000"/>
        </a:lnSpc>
        <a:spcBef>
          <a:spcPct val="0"/>
        </a:spcBef>
        <a:buNone/>
        <a:defRPr sz="2700" b="0" i="1" kern="1200" spc="0" baseline="0">
          <a:solidFill>
            <a:srgbClr val="1E22AA"/>
          </a:solidFill>
          <a:latin typeface="Prometo Medium" panose="020B0704030203060203" pitchFamily="34" charset="0"/>
          <a:ea typeface="+mj-ea"/>
          <a:cs typeface="+mj-cs"/>
        </a:defRPr>
      </a:lvl1pPr>
    </p:titleStyle>
    <p:bodyStyle>
      <a:lvl1pPr marL="0" indent="0" algn="l" defTabSz="685739" rtl="0" eaLnBrk="1" latinLnBrk="0" hangingPunct="1">
        <a:lnSpc>
          <a:spcPct val="150000"/>
        </a:lnSpc>
        <a:spcBef>
          <a:spcPts val="750"/>
        </a:spcBef>
        <a:buFont typeface="Arial" panose="020B0604020202020204" pitchFamily="34" charset="0"/>
        <a:buNone/>
        <a:defRPr sz="2100" b="0" i="0" kern="1200">
          <a:solidFill>
            <a:schemeClr val="bg2"/>
          </a:solidFill>
          <a:latin typeface="Century Gothic" panose="020B0502020202020204" pitchFamily="34" charset="0"/>
          <a:ea typeface="+mn-ea"/>
          <a:cs typeface="+mn-cs"/>
        </a:defRPr>
      </a:lvl1pPr>
      <a:lvl2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900" kern="1200">
          <a:solidFill>
            <a:srgbClr val="FF5A5A"/>
          </a:solidFill>
          <a:latin typeface="Century Gothic" panose="020B0502020202020204" pitchFamily="34" charset="0"/>
          <a:ea typeface="+mn-ea"/>
          <a:cs typeface="+mn-cs"/>
        </a:defRPr>
      </a:lvl2pPr>
      <a:lvl3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1200" b="0" i="0" kern="1200">
          <a:solidFill>
            <a:schemeClr val="bg2"/>
          </a:solidFill>
          <a:latin typeface="Century Gothic" panose="020B0502020202020204" pitchFamily="34" charset="0"/>
          <a:ea typeface="+mn-ea"/>
          <a:cs typeface="+mn-cs"/>
        </a:defRPr>
      </a:lvl3pPr>
      <a:lvl4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1050" b="0" i="0" kern="1200">
          <a:solidFill>
            <a:schemeClr val="bg2"/>
          </a:solidFill>
          <a:latin typeface="Century Gothic" panose="020B0502020202020204" pitchFamily="34" charset="0"/>
          <a:ea typeface="+mn-ea"/>
          <a:cs typeface="+mn-cs"/>
        </a:defRPr>
      </a:lvl4pPr>
      <a:lvl5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900" b="0" i="0" kern="1200" baseline="0">
          <a:solidFill>
            <a:schemeClr val="bg2"/>
          </a:solidFill>
          <a:latin typeface="Century Gothic" panose="020B0502020202020204" pitchFamily="34" charset="0"/>
          <a:ea typeface="+mn-ea"/>
          <a:cs typeface="+mn-cs"/>
        </a:defRPr>
      </a:lvl5pPr>
      <a:lvl6pPr marL="1885781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51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19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88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0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77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46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15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84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53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9" pos="7200">
          <p15:clr>
            <a:srgbClr val="F26B43"/>
          </p15:clr>
        </p15:guide>
        <p15:guide id="48" pos="1005">
          <p15:clr>
            <a:srgbClr val="F26B43"/>
          </p15:clr>
        </p15:guide>
        <p15:guide id="51" orient="horz" pos="100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0"/>
            <a:endParaRPr lang="fi-FI" dirty="0"/>
          </a:p>
          <a:p>
            <a:pPr lvl="0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7221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9" r:id="rId1"/>
    <p:sldLayoutId id="2147486230" r:id="rId2"/>
    <p:sldLayoutId id="2147486231" r:id="rId3"/>
    <p:sldLayoutId id="2147486232" r:id="rId4"/>
    <p:sldLayoutId id="2147486233" r:id="rId5"/>
    <p:sldLayoutId id="2147486234" r:id="rId6"/>
    <p:sldLayoutId id="2147486235" r:id="rId7"/>
    <p:sldLayoutId id="2147486236" r:id="rId8"/>
    <p:sldLayoutId id="2147486237" r:id="rId9"/>
    <p:sldLayoutId id="2147486238" r:id="rId10"/>
    <p:sldLayoutId id="2147486239" r:id="rId11"/>
    <p:sldLayoutId id="2147486240" r:id="rId12"/>
    <p:sldLayoutId id="2147486241" r:id="rId13"/>
    <p:sldLayoutId id="2147486242" r:id="rId14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0"/>
            <a:endParaRPr lang="fi-FI" dirty="0"/>
          </a:p>
          <a:p>
            <a:pPr lvl="0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1423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4" r:id="rId1"/>
    <p:sldLayoutId id="2147486245" r:id="rId2"/>
    <p:sldLayoutId id="2147486246" r:id="rId3"/>
    <p:sldLayoutId id="2147486247" r:id="rId4"/>
    <p:sldLayoutId id="2147486248" r:id="rId5"/>
    <p:sldLayoutId id="2147486249" r:id="rId6"/>
    <p:sldLayoutId id="2147486250" r:id="rId7"/>
    <p:sldLayoutId id="2147486251" r:id="rId8"/>
    <p:sldLayoutId id="2147486252" r:id="rId9"/>
    <p:sldLayoutId id="2147486253" r:id="rId10"/>
    <p:sldLayoutId id="2147486254" r:id="rId11"/>
    <p:sldLayoutId id="2147486255" r:id="rId12"/>
    <p:sldLayoutId id="2147486256" r:id="rId13"/>
    <p:sldLayoutId id="2147486257" r:id="rId1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67544" y="267494"/>
            <a:ext cx="8208912" cy="8087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i-FI" noProof="0"/>
              <a:t>Muokkaa perustyyl. napsautt.</a:t>
            </a:r>
            <a:endParaRPr lang="en-GB" noProof="0"/>
          </a:p>
        </p:txBody>
      </p:sp>
      <p:sp>
        <p:nvSpPr>
          <p:cNvPr id="17" name="Tekstin paikkamerkki 2"/>
          <p:cNvSpPr>
            <a:spLocks noGrp="1"/>
          </p:cNvSpPr>
          <p:nvPr>
            <p:ph type="body" idx="1"/>
          </p:nvPr>
        </p:nvSpPr>
        <p:spPr>
          <a:xfrm>
            <a:off x="467544" y="1203598"/>
            <a:ext cx="8208912" cy="331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0"/>
            <a:endParaRPr lang="en-GB" noProof="0"/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52369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9" r:id="rId1"/>
    <p:sldLayoutId id="2147486260" r:id="rId2"/>
    <p:sldLayoutId id="2147486261" r:id="rId3"/>
    <p:sldLayoutId id="2147486262" r:id="rId4"/>
    <p:sldLayoutId id="2147486263" r:id="rId5"/>
    <p:sldLayoutId id="2147486264" r:id="rId6"/>
    <p:sldLayoutId id="2147486265" r:id="rId7"/>
    <p:sldLayoutId id="2147486266" r:id="rId8"/>
    <p:sldLayoutId id="2147486267" r:id="rId9"/>
    <p:sldLayoutId id="2147486268" r:id="rId10"/>
    <p:sldLayoutId id="2147486269" r:id="rId11"/>
    <p:sldLayoutId id="2147486270" r:id="rId12"/>
    <p:sldLayoutId id="2147486271" r:id="rId13"/>
    <p:sldLayoutId id="2147486272" r:id="rId1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Font typeface="Lucida Grande"/>
        <a:buChar char="-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357188" indent="-17780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400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53657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720725" indent="-171450" algn="l" defTabSz="457200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2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1828800" indent="0" algn="ctr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tiff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16.xml"/><Relationship Id="rId7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4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69.xml"/><Relationship Id="rId9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42BACD6-1380-4594-BD55-6D88018DA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639" y="2355726"/>
            <a:ext cx="8504857" cy="664757"/>
          </a:xfrm>
        </p:spPr>
        <p:txBody>
          <a:bodyPr/>
          <a:lstStyle/>
          <a:p>
            <a:r>
              <a:rPr lang="fi-FI" sz="2400" dirty="0">
                <a:solidFill>
                  <a:schemeClr val="bg2"/>
                </a:solidFill>
              </a:rPr>
              <a:t>How </a:t>
            </a:r>
            <a:r>
              <a:rPr lang="fi-FI" sz="2400" dirty="0" err="1">
                <a:solidFill>
                  <a:schemeClr val="bg2"/>
                </a:solidFill>
              </a:rPr>
              <a:t>can</a:t>
            </a:r>
            <a:r>
              <a:rPr lang="fi-FI" sz="2400" dirty="0">
                <a:solidFill>
                  <a:schemeClr val="bg2"/>
                </a:solidFill>
              </a:rPr>
              <a:t> </a:t>
            </a:r>
            <a:r>
              <a:rPr lang="fi-FI" sz="2400" dirty="0" err="1">
                <a:solidFill>
                  <a:schemeClr val="bg2"/>
                </a:solidFill>
              </a:rPr>
              <a:t>Circular</a:t>
            </a:r>
            <a:r>
              <a:rPr lang="fi-FI" sz="2400" dirty="0">
                <a:solidFill>
                  <a:schemeClr val="bg2"/>
                </a:solidFill>
              </a:rPr>
              <a:t> </a:t>
            </a:r>
            <a:r>
              <a:rPr lang="fi-FI" sz="2400" dirty="0" err="1">
                <a:solidFill>
                  <a:schemeClr val="bg2"/>
                </a:solidFill>
              </a:rPr>
              <a:t>Economy</a:t>
            </a:r>
            <a:r>
              <a:rPr lang="fi-FI" sz="2400" dirty="0">
                <a:solidFill>
                  <a:schemeClr val="bg2"/>
                </a:solidFill>
              </a:rPr>
              <a:t> and </a:t>
            </a:r>
            <a:r>
              <a:rPr lang="fi-FI" sz="2400" dirty="0" err="1">
                <a:solidFill>
                  <a:schemeClr val="bg2"/>
                </a:solidFill>
              </a:rPr>
              <a:t>Fair</a:t>
            </a:r>
            <a:r>
              <a:rPr lang="fi-FI" sz="2400" dirty="0">
                <a:solidFill>
                  <a:schemeClr val="bg2"/>
                </a:solidFill>
              </a:rPr>
              <a:t> Data </a:t>
            </a:r>
            <a:r>
              <a:rPr lang="fi-FI" sz="2400" dirty="0" err="1">
                <a:solidFill>
                  <a:schemeClr val="bg2"/>
                </a:solidFill>
              </a:rPr>
              <a:t>Economy</a:t>
            </a:r>
            <a:r>
              <a:rPr lang="fi-FI" sz="2400" dirty="0">
                <a:solidFill>
                  <a:schemeClr val="bg2"/>
                </a:solidFill>
              </a:rPr>
              <a:t> help to </a:t>
            </a:r>
            <a:r>
              <a:rPr lang="fi-FI" sz="2400" dirty="0" err="1">
                <a:solidFill>
                  <a:schemeClr val="bg2"/>
                </a:solidFill>
              </a:rPr>
              <a:t>rebuild</a:t>
            </a:r>
            <a:r>
              <a:rPr lang="fi-FI" sz="2400" dirty="0">
                <a:solidFill>
                  <a:schemeClr val="bg2"/>
                </a:solidFill>
              </a:rPr>
              <a:t> </a:t>
            </a:r>
            <a:r>
              <a:rPr lang="fi-FI" sz="2400" dirty="0" err="1">
                <a:solidFill>
                  <a:schemeClr val="bg2"/>
                </a:solidFill>
              </a:rPr>
              <a:t>your</a:t>
            </a:r>
            <a:r>
              <a:rPr lang="fi-FI" sz="2400" dirty="0">
                <a:solidFill>
                  <a:schemeClr val="bg2"/>
                </a:solidFill>
              </a:rPr>
              <a:t> </a:t>
            </a:r>
            <a:r>
              <a:rPr lang="fi-FI" sz="2400" dirty="0" err="1">
                <a:solidFill>
                  <a:schemeClr val="bg2"/>
                </a:solidFill>
              </a:rPr>
              <a:t>company</a:t>
            </a:r>
            <a:r>
              <a:rPr lang="fi-FI" sz="2400" dirty="0">
                <a:solidFill>
                  <a:schemeClr val="bg2"/>
                </a:solidFill>
              </a:rPr>
              <a:t> post-</a:t>
            </a:r>
            <a:r>
              <a:rPr lang="fi-FI" sz="2400" dirty="0" err="1">
                <a:solidFill>
                  <a:schemeClr val="bg2"/>
                </a:solidFill>
              </a:rPr>
              <a:t>Corona</a:t>
            </a:r>
            <a:r>
              <a:rPr lang="fi-FI" sz="2400" dirty="0">
                <a:solidFill>
                  <a:schemeClr val="bg2"/>
                </a:solidFill>
              </a:rPr>
              <a:t>?</a:t>
            </a:r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7027FAC1-191B-4F86-9CC8-E06A367879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5991" y="3183355"/>
            <a:ext cx="8064698" cy="360363"/>
          </a:xfrm>
        </p:spPr>
        <p:txBody>
          <a:bodyPr/>
          <a:lstStyle/>
          <a:p>
            <a:r>
              <a:rPr lang="fi-FI" dirty="0"/>
              <a:t>Jaana Sinipuro, Project </a:t>
            </a:r>
            <a:r>
              <a:rPr lang="fi-FI" dirty="0" err="1"/>
              <a:t>Director</a:t>
            </a:r>
            <a:r>
              <a:rPr lang="fi-FI" dirty="0"/>
              <a:t>, Sitra </a:t>
            </a:r>
          </a:p>
          <a:p>
            <a:r>
              <a:rPr lang="fi-FI" dirty="0"/>
              <a:t>@jsinipuro</a:t>
            </a:r>
            <a:endParaRPr lang="en-US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A0E56A9B-A1FC-4F20-8FDE-96DA618D94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/>
              <a:t>SHIFT Business Festiva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8254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FE7C27E3-129E-4990-90A1-36F4D4108FFA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2A3E8A35-6148-4EB5-B4E9-873FF6A2F48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46600" y="283468"/>
            <a:ext cx="4823768" cy="4176464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Digital literacy at all levels. Improve both business and technical skills.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US" b="1" dirty="0"/>
              <a:t>Rein in technology causing misery for individuals </a:t>
            </a:r>
            <a:r>
              <a:rPr lang="fi-FI" b="1" dirty="0"/>
              <a:t>- Digital Rights </a:t>
            </a:r>
            <a:r>
              <a:rPr lang="fi-FI" b="1" dirty="0" err="1"/>
              <a:t>are</a:t>
            </a:r>
            <a:r>
              <a:rPr lang="fi-FI" b="1" dirty="0"/>
              <a:t> Human Rights</a:t>
            </a:r>
            <a:endParaRPr lang="en-GB" b="1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US" b="1" dirty="0"/>
              <a:t>Act fast! 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Learnings from European financial and telecom markets suggest focus on following topics*</a:t>
            </a:r>
          </a:p>
          <a:p>
            <a:pPr marL="0" indent="0">
              <a:buNone/>
            </a:pPr>
            <a:r>
              <a:rPr lang="en-US" dirty="0"/>
              <a:t>-  Accumulation and use of data assets </a:t>
            </a:r>
          </a:p>
          <a:p>
            <a:r>
              <a:rPr lang="en-US" dirty="0"/>
              <a:t>Services	</a:t>
            </a:r>
          </a:p>
          <a:p>
            <a:r>
              <a:rPr lang="en-US" dirty="0"/>
              <a:t>Legislative actions</a:t>
            </a:r>
          </a:p>
          <a:p>
            <a:r>
              <a:rPr lang="en-US" dirty="0"/>
              <a:t>Self-regulation and standards 	</a:t>
            </a:r>
          </a:p>
          <a:p>
            <a:r>
              <a:rPr lang="en-US" dirty="0"/>
              <a:t>Implementation of the supervision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4" name="Otsikko 23">
            <a:extLst>
              <a:ext uri="{FF2B5EF4-FFF2-40B4-BE49-F238E27FC236}">
                <a16:creationId xmlns:a16="http://schemas.microsoft.com/office/drawing/2014/main" id="{1E13C98D-1102-4225-8FB1-D5531677E6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9513" y="267494"/>
            <a:ext cx="3096344" cy="1223963"/>
          </a:xfrm>
        </p:spPr>
        <p:txBody>
          <a:bodyPr/>
          <a:lstStyle/>
          <a:p>
            <a:r>
              <a:rPr lang="fi-FI" dirty="0">
                <a:solidFill>
                  <a:schemeClr val="bg1"/>
                </a:solidFill>
              </a:rPr>
              <a:t>UNDERSTANDING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Kuva 20">
            <a:extLst>
              <a:ext uri="{FF2B5EF4-FFF2-40B4-BE49-F238E27FC236}">
                <a16:creationId xmlns:a16="http://schemas.microsoft.com/office/drawing/2014/main" id="{5268E2DB-8235-4205-84EE-54BFE893E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743" y="1807852"/>
            <a:ext cx="2206552" cy="2974969"/>
          </a:xfrm>
          <a:prstGeom prst="rect">
            <a:avLst/>
          </a:prstGeom>
        </p:spPr>
      </p:pic>
      <p:sp>
        <p:nvSpPr>
          <p:cNvPr id="17" name="Tekstiruutu 16">
            <a:extLst>
              <a:ext uri="{FF2B5EF4-FFF2-40B4-BE49-F238E27FC236}">
                <a16:creationId xmlns:a16="http://schemas.microsoft.com/office/drawing/2014/main" id="{49504D76-ED60-483F-963D-C090AACAF70F}"/>
              </a:ext>
            </a:extLst>
          </p:cNvPr>
          <p:cNvSpPr txBox="1"/>
          <p:nvPr/>
        </p:nvSpPr>
        <p:spPr>
          <a:xfrm>
            <a:off x="3563888" y="4567377"/>
            <a:ext cx="430502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 dirty="0">
                <a:latin typeface="Georgia"/>
              </a:rPr>
              <a:t>Source: Sitra Working paper </a:t>
            </a:r>
          </a:p>
          <a:p>
            <a:r>
              <a:rPr lang="en-US" sz="1100" i="1" dirty="0">
                <a:latin typeface="Georgia"/>
              </a:rPr>
              <a:t>”The Future of The European Data Economy at Stake”, 1.10.2020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461408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7EE4D33C-225A-4BE7-B169-C94A39D808DC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6D895ABD-8E57-4624-B54A-4D070D97C2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51920" y="267494"/>
            <a:ext cx="5040560" cy="4104456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A more holistic view of EU wide data governance is needed for pooling the resource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US" b="1" dirty="0"/>
              <a:t>Focus on data sovereignty</a:t>
            </a:r>
          </a:p>
          <a:p>
            <a:r>
              <a:rPr lang="en-GB" dirty="0"/>
              <a:t>It is essential that people and organisations have functional control of their data and are easily able to reuse that data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/>
              <a:t>Cross-sectoral data sharing </a:t>
            </a:r>
            <a:r>
              <a:rPr lang="en-GB" dirty="0"/>
              <a:t>is the key for innovative service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ulebook templates for data sharing</a:t>
            </a:r>
          </a:p>
          <a:p>
            <a:r>
              <a:rPr lang="en-US" dirty="0"/>
              <a:t>model agreement templates for legal, business, technical and administrative rules</a:t>
            </a:r>
          </a:p>
          <a:p>
            <a:r>
              <a:rPr lang="en-US" dirty="0"/>
              <a:t>a range of control questions</a:t>
            </a:r>
          </a:p>
          <a:p>
            <a:r>
              <a:rPr lang="en-US" dirty="0"/>
              <a:t>code of conduct templates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E8A44103-A82F-4148-89E9-B6D501178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5288" y="699542"/>
            <a:ext cx="2592536" cy="3672407"/>
          </a:xfrm>
        </p:spPr>
        <p:txBody>
          <a:bodyPr/>
          <a:lstStyle/>
          <a:p>
            <a:pPr algn="ctr"/>
            <a:r>
              <a:rPr lang="fi-FI" dirty="0"/>
              <a:t>CHOICES</a:t>
            </a:r>
            <a:endParaRPr lang="en-US" dirty="0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24CA5A8C-A732-4120-B631-8FC4582D51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06832" y="1457433"/>
            <a:ext cx="3678748" cy="3678748"/>
          </a:xfrm>
          <a:prstGeom prst="rect">
            <a:avLst/>
          </a:prstGeom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id="{FB18D942-AEAB-45DD-AEC7-6BAC5473A1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5676" y="3054907"/>
            <a:ext cx="796202" cy="796202"/>
          </a:xfrm>
          <a:prstGeom prst="rect">
            <a:avLst/>
          </a:prstGeom>
        </p:spPr>
      </p:pic>
      <p:sp>
        <p:nvSpPr>
          <p:cNvPr id="12" name="Tekstiruutu 11">
            <a:extLst>
              <a:ext uri="{FF2B5EF4-FFF2-40B4-BE49-F238E27FC236}">
                <a16:creationId xmlns:a16="http://schemas.microsoft.com/office/drawing/2014/main" id="{709F428A-5BCB-47A8-853C-52295D0EC51E}"/>
              </a:ext>
            </a:extLst>
          </p:cNvPr>
          <p:cNvSpPr txBox="1"/>
          <p:nvPr/>
        </p:nvSpPr>
        <p:spPr>
          <a:xfrm>
            <a:off x="1829741" y="1864729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400" i="0" dirty="0" err="1">
                <a:solidFill>
                  <a:schemeClr val="bg2"/>
                </a:solidFill>
                <a:latin typeface="+mn-lt"/>
              </a:rPr>
              <a:t>Ethics</a:t>
            </a:r>
            <a:endParaRPr lang="en-US" sz="1400" i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7C4D071F-4B93-4ED5-A9DD-1DA6983648A5}"/>
              </a:ext>
            </a:extLst>
          </p:cNvPr>
          <p:cNvSpPr txBox="1"/>
          <p:nvPr/>
        </p:nvSpPr>
        <p:spPr>
          <a:xfrm>
            <a:off x="1829741" y="2170513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400" i="0" dirty="0" err="1">
                <a:solidFill>
                  <a:schemeClr val="bg2"/>
                </a:solidFill>
                <a:latin typeface="+mn-lt"/>
              </a:rPr>
              <a:t>Trust</a:t>
            </a:r>
            <a:endParaRPr lang="en-US" sz="1400" i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6" name="Tekstiruutu 15">
            <a:extLst>
              <a:ext uri="{FF2B5EF4-FFF2-40B4-BE49-F238E27FC236}">
                <a16:creationId xmlns:a16="http://schemas.microsoft.com/office/drawing/2014/main" id="{575017AA-B6DD-47E4-AAFA-AE6DCA3F8A73}"/>
              </a:ext>
            </a:extLst>
          </p:cNvPr>
          <p:cNvSpPr txBox="1"/>
          <p:nvPr/>
        </p:nvSpPr>
        <p:spPr>
          <a:xfrm>
            <a:off x="1714089" y="2459818"/>
            <a:ext cx="8793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400" i="0" dirty="0" err="1">
                <a:solidFill>
                  <a:schemeClr val="bg2"/>
                </a:solidFill>
                <a:latin typeface="+mn-lt"/>
              </a:rPr>
              <a:t>Privacy</a:t>
            </a:r>
            <a:endParaRPr lang="en-US" sz="1400" i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8" name="Tekstiruutu 17">
            <a:extLst>
              <a:ext uri="{FF2B5EF4-FFF2-40B4-BE49-F238E27FC236}">
                <a16:creationId xmlns:a16="http://schemas.microsoft.com/office/drawing/2014/main" id="{68AB4B2D-2668-4E79-895E-8365C31D6EAD}"/>
              </a:ext>
            </a:extLst>
          </p:cNvPr>
          <p:cNvSpPr txBox="1"/>
          <p:nvPr/>
        </p:nvSpPr>
        <p:spPr>
          <a:xfrm>
            <a:off x="1578449" y="2779715"/>
            <a:ext cx="11799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400" i="0" dirty="0" err="1">
                <a:solidFill>
                  <a:schemeClr val="bg2"/>
                </a:solidFill>
                <a:latin typeface="+mn-lt"/>
              </a:rPr>
              <a:t>Win</a:t>
            </a:r>
            <a:r>
              <a:rPr lang="fi-FI" sz="1400" dirty="0" err="1">
                <a:solidFill>
                  <a:schemeClr val="bg2"/>
                </a:solidFill>
                <a:latin typeface="+mn-lt"/>
              </a:rPr>
              <a:t>-Win-Win</a:t>
            </a:r>
            <a:endParaRPr lang="en-US" sz="1400" i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0" name="Tekstiruutu 19">
            <a:extLst>
              <a:ext uri="{FF2B5EF4-FFF2-40B4-BE49-F238E27FC236}">
                <a16:creationId xmlns:a16="http://schemas.microsoft.com/office/drawing/2014/main" id="{2E41C604-E5C3-4F82-9583-18D07E600050}"/>
              </a:ext>
            </a:extLst>
          </p:cNvPr>
          <p:cNvSpPr txBox="1"/>
          <p:nvPr/>
        </p:nvSpPr>
        <p:spPr>
          <a:xfrm>
            <a:off x="3647760" y="4677490"/>
            <a:ext cx="4536504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</a:pPr>
            <a:r>
              <a:rPr lang="en-US" sz="1100" i="1" dirty="0">
                <a:latin typeface="Georgia"/>
              </a:rPr>
              <a:t>* Source: </a:t>
            </a:r>
            <a:r>
              <a:rPr lang="en-US" sz="1100" i="1" dirty="0" err="1">
                <a:latin typeface="Georgia"/>
              </a:rPr>
              <a:t>Innopay</a:t>
            </a:r>
            <a:r>
              <a:rPr lang="en-US" sz="1100" i="1" dirty="0">
                <a:latin typeface="Georgia"/>
              </a:rPr>
              <a:t> paper “Data sovereignty and soft infrastructure: key enablers of the European data economy”, 30.09.2020</a:t>
            </a:r>
          </a:p>
        </p:txBody>
      </p:sp>
    </p:spTree>
    <p:extLst>
      <p:ext uri="{BB962C8B-B14F-4D97-AF65-F5344CB8AC3E}">
        <p14:creationId xmlns:p14="http://schemas.microsoft.com/office/powerpoint/2010/main" val="15904878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D94605F-B665-41C1-927F-B0C02CE18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815" y="169564"/>
            <a:ext cx="8136905" cy="864096"/>
          </a:xfrm>
        </p:spPr>
        <p:txBody>
          <a:bodyPr/>
          <a:lstStyle/>
          <a:p>
            <a:r>
              <a:rPr lang="fi-FI" dirty="0"/>
              <a:t>Data </a:t>
            </a:r>
            <a:r>
              <a:rPr lang="fi-FI" dirty="0" err="1"/>
              <a:t>Sovereignty</a:t>
            </a:r>
            <a:r>
              <a:rPr lang="fi-FI" dirty="0"/>
              <a:t> as Design </a:t>
            </a:r>
            <a:r>
              <a:rPr lang="fi-FI" dirty="0" err="1"/>
              <a:t>Principle</a:t>
            </a:r>
            <a:r>
              <a:rPr lang="fi-FI" dirty="0"/>
              <a:t>?</a:t>
            </a:r>
            <a:endParaRPr lang="en-US" dirty="0"/>
          </a:p>
        </p:txBody>
      </p:sp>
      <p:pic>
        <p:nvPicPr>
          <p:cNvPr id="4" name="Picture 104">
            <a:extLst>
              <a:ext uri="{FF2B5EF4-FFF2-40B4-BE49-F238E27FC236}">
                <a16:creationId xmlns:a16="http://schemas.microsoft.com/office/drawing/2014/main" id="{C567CB2C-28BC-4C4F-BDF3-984EA3BA9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1" y="1131590"/>
            <a:ext cx="7344817" cy="3476547"/>
          </a:xfrm>
          <a:prstGeom prst="rect">
            <a:avLst/>
          </a:prstGeom>
        </p:spPr>
      </p:pic>
      <p:sp>
        <p:nvSpPr>
          <p:cNvPr id="5" name="Tekstiruutu 4">
            <a:extLst>
              <a:ext uri="{FF2B5EF4-FFF2-40B4-BE49-F238E27FC236}">
                <a16:creationId xmlns:a16="http://schemas.microsoft.com/office/drawing/2014/main" id="{79993F7B-CB7D-424F-BF60-8E9680730FBC}"/>
              </a:ext>
            </a:extLst>
          </p:cNvPr>
          <p:cNvSpPr txBox="1"/>
          <p:nvPr/>
        </p:nvSpPr>
        <p:spPr>
          <a:xfrm>
            <a:off x="539551" y="4803998"/>
            <a:ext cx="74888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200" dirty="0">
                <a:latin typeface="+mn-lt"/>
              </a:rPr>
              <a:t>Source: Presentation </a:t>
            </a:r>
            <a:r>
              <a:rPr lang="fi-FI" sz="1200" dirty="0" err="1">
                <a:latin typeface="+mn-lt"/>
              </a:rPr>
              <a:t>by</a:t>
            </a:r>
            <a:r>
              <a:rPr lang="fi-FI" sz="1200" dirty="0">
                <a:latin typeface="+mn-lt"/>
              </a:rPr>
              <a:t> </a:t>
            </a:r>
            <a:r>
              <a:rPr lang="en-US" sz="1200" dirty="0" err="1">
                <a:latin typeface="+mn-lt"/>
              </a:rPr>
              <a:t>Douwe</a:t>
            </a:r>
            <a:r>
              <a:rPr lang="en-US" sz="1200" dirty="0">
                <a:latin typeface="+mn-lt"/>
              </a:rPr>
              <a:t> </a:t>
            </a:r>
            <a:r>
              <a:rPr lang="en-US" sz="1200" dirty="0" err="1">
                <a:latin typeface="+mn-lt"/>
              </a:rPr>
              <a:t>Lycklama</a:t>
            </a:r>
            <a:r>
              <a:rPr lang="en-US" sz="1200" dirty="0">
                <a:latin typeface="+mn-lt"/>
              </a:rPr>
              <a:t>, </a:t>
            </a:r>
            <a:r>
              <a:rPr lang="en-US" sz="1200" dirty="0" err="1">
                <a:latin typeface="+mn-lt"/>
              </a:rPr>
              <a:t>Innopay</a:t>
            </a:r>
            <a:r>
              <a:rPr lang="en-US" sz="1200" dirty="0">
                <a:latin typeface="+mn-lt"/>
              </a:rPr>
              <a:t> Webinar  “</a:t>
            </a:r>
            <a:r>
              <a:rPr lang="en-US" sz="1200" dirty="0" err="1">
                <a:latin typeface="+mn-lt"/>
              </a:rPr>
              <a:t>DataSovereignty</a:t>
            </a:r>
            <a:r>
              <a:rPr lang="en-US" sz="1200" dirty="0">
                <a:latin typeface="+mn-lt"/>
              </a:rPr>
              <a:t> Now: unleashing the benefits of data in line with European values”</a:t>
            </a:r>
          </a:p>
        </p:txBody>
      </p:sp>
    </p:spTree>
    <p:extLst>
      <p:ext uri="{BB962C8B-B14F-4D97-AF65-F5344CB8AC3E}">
        <p14:creationId xmlns:p14="http://schemas.microsoft.com/office/powerpoint/2010/main" val="7039051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>
            <a:extLst>
              <a:ext uri="{FF2B5EF4-FFF2-40B4-BE49-F238E27FC236}">
                <a16:creationId xmlns:a16="http://schemas.microsoft.com/office/drawing/2014/main" id="{24A5DDE5-C508-420C-8E0D-526A862925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551" y="1242482"/>
            <a:ext cx="4174424" cy="26782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9D5376-D3B8-4AB1-9EAD-E9343D4A3E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9D5376-D3B8-4AB1-9EAD-E9343D4A3E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D706C-4C34-44B6-B542-C07A319611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803240E0-45FE-4E6E-887B-313DE1E27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419622"/>
            <a:ext cx="4419001" cy="28414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406B2AF-AA52-4614-B6C4-013E0D67CC92}"/>
              </a:ext>
            </a:extLst>
          </p:cNvPr>
          <p:cNvSpPr/>
          <p:nvPr/>
        </p:nvSpPr>
        <p:spPr>
          <a:xfrm>
            <a:off x="4659909" y="4371950"/>
            <a:ext cx="42526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ource: Gartner  2018 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”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018 Hype Cycles: Riding the Innovation Wave, A Gartner Trend Insight Report”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F0EA74A9-8255-4E6A-A07E-A38813F37E49}"/>
              </a:ext>
            </a:extLst>
          </p:cNvPr>
          <p:cNvSpPr txBox="1"/>
          <p:nvPr/>
        </p:nvSpPr>
        <p:spPr>
          <a:xfrm>
            <a:off x="471414" y="4008720"/>
            <a:ext cx="419537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ource: Gartner 2020 “Hype Cycle Special Report: Innovation as Strategy, ID G00724983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66D18A3F-E647-4ADA-8381-5F2A7D8E8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”</a:t>
            </a:r>
            <a:r>
              <a:rPr lang="fi-FI" dirty="0" err="1"/>
              <a:t>Gartner</a:t>
            </a:r>
            <a:r>
              <a:rPr lang="fi-FI" dirty="0"/>
              <a:t> </a:t>
            </a:r>
            <a:r>
              <a:rPr lang="fi-FI" dirty="0" err="1"/>
              <a:t>says</a:t>
            </a:r>
            <a:r>
              <a:rPr lang="fi-FI" dirty="0"/>
              <a:t>”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5878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B210C6BC-D593-4D7D-9F7F-C86E28719F19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9F8739E0-9A4B-4D60-A417-0B96896872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5288" y="181744"/>
            <a:ext cx="2592536" cy="4190206"/>
          </a:xfrm>
        </p:spPr>
        <p:txBody>
          <a:bodyPr/>
          <a:lstStyle/>
          <a:p>
            <a:r>
              <a:rPr lang="en-GB" sz="1400" b="1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The main goal of the study:  to </a:t>
            </a:r>
            <a:r>
              <a:rPr lang="en-GB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find out why large companies should share their data and collaborate with smaller partners</a:t>
            </a:r>
            <a:br>
              <a:rPr lang="en-GB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</a:br>
            <a:endParaRPr lang="en-GB" sz="1400" dirty="0">
              <a:solidFill>
                <a:schemeClr val="bg2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en-GB" sz="1400" b="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Other goals: </a:t>
            </a:r>
          </a:p>
          <a:p>
            <a:r>
              <a:rPr lang="en-US" sz="1400" b="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Gain understanding of the current situation of business ecosystems in Finland. Gain insight about visions for the future</a:t>
            </a:r>
          </a:p>
          <a:p>
            <a:endParaRPr lang="en-GB" sz="1400" b="0" dirty="0">
              <a:solidFill>
                <a:schemeClr val="bg2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en-GB" sz="1400" b="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Interviews</a:t>
            </a:r>
          </a:p>
          <a:p>
            <a:pPr lvl="1"/>
            <a:r>
              <a:rPr lang="en-US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Companies from three different ecosystems</a:t>
            </a:r>
          </a:p>
          <a:p>
            <a:pPr lvl="1"/>
            <a:r>
              <a:rPr lang="en-US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Four expert interviews</a:t>
            </a:r>
            <a:endParaRPr lang="en-GB" dirty="0">
              <a:solidFill>
                <a:schemeClr val="bg2"/>
              </a:solidFill>
              <a:latin typeface="+mj-lt"/>
              <a:cs typeface="Arial" panose="020B0604020202020204" pitchFamily="34" charset="0"/>
            </a:endParaRPr>
          </a:p>
          <a:p>
            <a:endParaRPr lang="en-US" sz="1400" dirty="0">
              <a:latin typeface="+mj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E7EEB9C-77F3-4629-94D5-DD14FDB4EEA9}"/>
              </a:ext>
            </a:extLst>
          </p:cNvPr>
          <p:cNvSpPr txBox="1">
            <a:spLocks/>
          </p:cNvSpPr>
          <p:nvPr/>
        </p:nvSpPr>
        <p:spPr>
          <a:xfrm>
            <a:off x="3635896" y="181743"/>
            <a:ext cx="5328592" cy="4190206"/>
          </a:xfrm>
          <a:prstGeom prst="rect">
            <a:avLst/>
          </a:prstGeom>
        </p:spPr>
        <p:txBody>
          <a:bodyPr anchor="ctr"/>
          <a:lstStyle>
            <a:lvl1pPr marL="179388" indent="-179388" algn="l" defTabSz="457200" rtl="0" eaLnBrk="1" latinLnBrk="0" hangingPunct="1">
              <a:spcBef>
                <a:spcPct val="20000"/>
              </a:spcBef>
              <a:buFont typeface="Lucida Grande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marL="357188" indent="-177800" algn="l" defTabSz="457200" rtl="0" eaLnBrk="1" latinLnBrk="0" hangingPunct="1">
              <a:spcBef>
                <a:spcPct val="20000"/>
              </a:spcBef>
              <a:buFont typeface="Georgia" panose="02040502050405020303" pitchFamily="18" charset="0"/>
              <a:buChar char="–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2pPr>
            <a:lvl3pPr marL="536575" indent="-171450" algn="l" defTabSz="457200" rtl="0" eaLnBrk="1" latinLnBrk="0" hangingPunct="1">
              <a:spcBef>
                <a:spcPct val="20000"/>
              </a:spcBef>
              <a:buFont typeface="Georgia" panose="02040502050405020303" pitchFamily="18" charset="0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3pPr>
            <a:lvl4pPr marL="720725" indent="-171450" algn="l" defTabSz="457200" rtl="0" eaLnBrk="1" latinLnBrk="0" hangingPunct="1">
              <a:spcBef>
                <a:spcPct val="20000"/>
              </a:spcBef>
              <a:buFont typeface="Georgia" panose="02040502050405020303" pitchFamily="18" charset="0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90000"/>
              </a:lnSpc>
              <a:spcAft>
                <a:spcPts val="0"/>
              </a:spcAft>
              <a:buNone/>
            </a:pPr>
            <a:r>
              <a:rPr lang="en-GB" dirty="0">
                <a:latin typeface="Georgia"/>
              </a:rPr>
              <a:t>Ecosystems can bring </a:t>
            </a:r>
            <a:r>
              <a:rPr lang="en-GB" b="1" dirty="0">
                <a:latin typeface="Georgia"/>
              </a:rPr>
              <a:t>strategic opportunities </a:t>
            </a:r>
            <a:r>
              <a:rPr lang="en-GB" dirty="0">
                <a:latin typeface="Georgia"/>
              </a:rPr>
              <a:t>and </a:t>
            </a:r>
            <a:r>
              <a:rPr lang="en-GB" b="1" dirty="0">
                <a:latin typeface="Georgia"/>
              </a:rPr>
              <a:t>operational benefits </a:t>
            </a:r>
            <a:r>
              <a:rPr lang="en-GB" dirty="0">
                <a:latin typeface="Georgia"/>
              </a:rPr>
              <a:t>to both large and small players - so large companies should share their data and collaborate with smaller partners as it brings benefits to everyone! 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endParaRPr lang="en-GB" dirty="0">
              <a:latin typeface="Georgia"/>
              <a:sym typeface="Wingdings" panose="05000000000000000000" pitchFamily="2" charset="2"/>
            </a:endParaRP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r>
              <a:rPr lang="en-GB" dirty="0">
                <a:latin typeface="Georgia"/>
                <a:sym typeface="Wingdings" panose="05000000000000000000" pitchFamily="2" charset="2"/>
              </a:rPr>
              <a:t>Experts are believing ecosystems are the future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r>
              <a:rPr lang="en-GB" dirty="0">
                <a:latin typeface="Georgia"/>
                <a:sym typeface="Wingdings" panose="05000000000000000000" pitchFamily="2" charset="2"/>
              </a:rPr>
              <a:t>At the moment, only some industries have started to utilize this business model. There is still a long way to go towards truly open ecosystems.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r>
              <a:rPr lang="en-GB" dirty="0">
                <a:latin typeface="Georgia"/>
              </a:rPr>
              <a:t>Ecosystems are not fast fix for problems, they require time, results and long-term attitudes from companies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r>
              <a:rPr lang="en-GB" dirty="0">
                <a:latin typeface="Georgia"/>
              </a:rPr>
              <a:t>Ecosystems should be considered in international level because also the competition crosses national borders 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r>
              <a:rPr lang="en-GB" b="1" dirty="0">
                <a:latin typeface="Georgia"/>
              </a:rPr>
              <a:t>Companies do not collaborate, people do!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Tx/>
              <a:buChar char="-"/>
            </a:pPr>
            <a:endParaRPr lang="en-GB" dirty="0">
              <a:latin typeface="Georgia"/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E599E7B1-2584-46BD-B1FF-488D75190E93}"/>
              </a:ext>
            </a:extLst>
          </p:cNvPr>
          <p:cNvSpPr txBox="1"/>
          <p:nvPr/>
        </p:nvSpPr>
        <p:spPr>
          <a:xfrm>
            <a:off x="3851920" y="4371949"/>
            <a:ext cx="471710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 dirty="0">
                <a:latin typeface="Georgia"/>
              </a:rPr>
              <a:t>Source: Master’s thesis by Pinja Parkkonen, Sept 2020: “How to create new business opportunities in data sharing ecosystems with collaborative relationship between a large company and a SME”</a:t>
            </a:r>
          </a:p>
        </p:txBody>
      </p:sp>
    </p:spTree>
    <p:extLst>
      <p:ext uri="{BB962C8B-B14F-4D97-AF65-F5344CB8AC3E}">
        <p14:creationId xmlns:p14="http://schemas.microsoft.com/office/powerpoint/2010/main" val="40353486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AC71CA77-CB9D-40F0-9283-AB5E1F0314B4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7C4B609-90F4-4DB2-BD74-0C8D9C5C43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51920" y="267494"/>
            <a:ext cx="4823768" cy="4104456"/>
          </a:xfrm>
        </p:spPr>
        <p:txBody>
          <a:bodyPr/>
          <a:lstStyle/>
          <a:p>
            <a:pPr marL="0" indent="0">
              <a:buNone/>
            </a:pPr>
            <a:r>
              <a:rPr lang="fi-FI" b="1" dirty="0" err="1"/>
              <a:t>We</a:t>
            </a:r>
            <a:r>
              <a:rPr lang="fi-FI" b="1" dirty="0"/>
              <a:t> </a:t>
            </a:r>
            <a:r>
              <a:rPr lang="fi-FI" b="1" dirty="0" err="1"/>
              <a:t>are</a:t>
            </a:r>
            <a:r>
              <a:rPr lang="fi-FI" b="1" dirty="0"/>
              <a:t> </a:t>
            </a:r>
            <a:r>
              <a:rPr lang="fi-FI" b="1" dirty="0" err="1"/>
              <a:t>not</a:t>
            </a:r>
            <a:r>
              <a:rPr lang="fi-FI" b="1" dirty="0"/>
              <a:t> in </a:t>
            </a:r>
            <a:r>
              <a:rPr lang="fi-FI" b="1" dirty="0" err="1"/>
              <a:t>the</a:t>
            </a:r>
            <a:r>
              <a:rPr lang="fi-FI" b="1" dirty="0"/>
              <a:t> data </a:t>
            </a:r>
            <a:r>
              <a:rPr lang="fi-FI" b="1" dirty="0" err="1"/>
              <a:t>economy</a:t>
            </a:r>
            <a:r>
              <a:rPr lang="fi-FI" b="1" dirty="0"/>
              <a:t> </a:t>
            </a:r>
            <a:r>
              <a:rPr lang="fi-FI" b="1" dirty="0" err="1"/>
              <a:t>yet</a:t>
            </a:r>
            <a:r>
              <a:rPr lang="fi-FI" b="1" dirty="0"/>
              <a:t> – internet is a </a:t>
            </a:r>
            <a:r>
              <a:rPr lang="fi-FI" b="1" dirty="0" err="1"/>
              <a:t>graveyard</a:t>
            </a:r>
            <a:r>
              <a:rPr lang="fi-FI" b="1" dirty="0"/>
              <a:t> of data</a:t>
            </a:r>
          </a:p>
          <a:p>
            <a:pPr>
              <a:buFontTx/>
              <a:buChar char="-"/>
            </a:pPr>
            <a:r>
              <a:rPr lang="en-US" dirty="0"/>
              <a:t>90% data is not machine readable and thus unusable for automation</a:t>
            </a:r>
          </a:p>
          <a:p>
            <a:pPr>
              <a:buFontTx/>
              <a:buChar char="-"/>
            </a:pPr>
            <a:r>
              <a:rPr lang="en-US" dirty="0"/>
              <a:t>Data can’t be </a:t>
            </a:r>
            <a:r>
              <a:rPr lang="en-US" dirty="0" err="1"/>
              <a:t>commoditised</a:t>
            </a:r>
            <a:r>
              <a:rPr lang="en-US" dirty="0"/>
              <a:t> and put to real world use</a:t>
            </a:r>
          </a:p>
          <a:p>
            <a:pPr>
              <a:buFontTx/>
              <a:buChar char="-"/>
            </a:pPr>
            <a:r>
              <a:rPr lang="en-US" dirty="0"/>
              <a:t>Discovering and getting access to data is expensive</a:t>
            </a:r>
          </a:p>
          <a:p>
            <a:pPr>
              <a:buFontTx/>
              <a:buChar char="-"/>
            </a:pPr>
            <a:r>
              <a:rPr lang="en-US" dirty="0"/>
              <a:t>Business models are missing</a:t>
            </a:r>
          </a:p>
          <a:p>
            <a:pPr>
              <a:buFontTx/>
              <a:buChar char="-"/>
            </a:pPr>
            <a:r>
              <a:rPr lang="en-US" dirty="0"/>
              <a:t>The web is stuck on telco and protocol level. APIs do not understand need, purpose or economic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b="1" dirty="0"/>
              <a:t>Data is a product that must be exchanged like any other commodity in global econom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Interoperability</a:t>
            </a:r>
          </a:p>
          <a:p>
            <a:pPr marL="0" indent="0">
              <a:buNone/>
            </a:pPr>
            <a:r>
              <a:rPr lang="en-US" b="1" dirty="0" err="1"/>
              <a:t>Commoditisation</a:t>
            </a:r>
            <a:r>
              <a:rPr lang="en-GB" b="1" dirty="0"/>
              <a:t> of data</a:t>
            </a:r>
          </a:p>
          <a:p>
            <a:pPr marL="0" indent="0">
              <a:buNone/>
            </a:pPr>
            <a:r>
              <a:rPr lang="en-GB" b="1" dirty="0"/>
              <a:t>Automated trust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769ADA8-D040-410A-9C89-2F49F71528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5288" y="771550"/>
            <a:ext cx="2592536" cy="3600399"/>
          </a:xfrm>
        </p:spPr>
        <p:txBody>
          <a:bodyPr/>
          <a:lstStyle/>
          <a:p>
            <a:pPr algn="ctr"/>
            <a:r>
              <a:rPr lang="fi-FI" dirty="0"/>
              <a:t>INNOVATIONS</a:t>
            </a:r>
            <a:endParaRPr lang="en-US" dirty="0"/>
          </a:p>
        </p:txBody>
      </p:sp>
      <p:pic>
        <p:nvPicPr>
          <p:cNvPr id="36" name="Sisällön paikkamerkki 6" descr="Kuva, joka sisältää kohteen käsi, kevyt&#10;&#10;Kuvaus luotu automaattisesti">
            <a:extLst>
              <a:ext uri="{FF2B5EF4-FFF2-40B4-BE49-F238E27FC236}">
                <a16:creationId xmlns:a16="http://schemas.microsoft.com/office/drawing/2014/main" id="{822C1657-0951-4140-A265-02A915A1681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0" b="29205"/>
          <a:stretch/>
        </p:blipFill>
        <p:spPr>
          <a:xfrm>
            <a:off x="-252536" y="2571750"/>
            <a:ext cx="4608512" cy="2592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9980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>
            <a:extLst>
              <a:ext uri="{FF2B5EF4-FFF2-40B4-BE49-F238E27FC236}">
                <a16:creationId xmlns:a16="http://schemas.microsoft.com/office/drawing/2014/main" id="{BFAB062E-0A65-4A4A-BAA9-54E6024A94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57" r="8999"/>
          <a:stretch/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952788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isällön paikkamerkki 20">
            <a:extLst>
              <a:ext uri="{FF2B5EF4-FFF2-40B4-BE49-F238E27FC236}">
                <a16:creationId xmlns:a16="http://schemas.microsoft.com/office/drawing/2014/main" id="{52228834-9CF1-4C82-9C71-592C83832AB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kstin paikkamerkki 17">
            <a:extLst>
              <a:ext uri="{FF2B5EF4-FFF2-40B4-BE49-F238E27FC236}">
                <a16:creationId xmlns:a16="http://schemas.microsoft.com/office/drawing/2014/main" id="{E248E18A-F587-4CD5-9708-1241892195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2596" y="411162"/>
            <a:ext cx="4320480" cy="576064"/>
          </a:xfrm>
        </p:spPr>
        <p:txBody>
          <a:bodyPr/>
          <a:lstStyle/>
          <a:p>
            <a:r>
              <a:rPr lang="fi-FI" dirty="0"/>
              <a:t>How to </a:t>
            </a:r>
            <a:r>
              <a:rPr lang="fi-FI" dirty="0" err="1"/>
              <a:t>brand</a:t>
            </a:r>
            <a:r>
              <a:rPr lang="fi-FI" dirty="0"/>
              <a:t> </a:t>
            </a:r>
            <a:r>
              <a:rPr lang="fi-FI" dirty="0" err="1"/>
              <a:t>responsible</a:t>
            </a:r>
            <a:r>
              <a:rPr lang="fi-FI" dirty="0"/>
              <a:t> </a:t>
            </a:r>
            <a:r>
              <a:rPr lang="fi-FI" dirty="0" err="1"/>
              <a:t>digitalisation</a:t>
            </a:r>
            <a:r>
              <a:rPr lang="fi-FI" dirty="0"/>
              <a:t>? </a:t>
            </a:r>
            <a:r>
              <a:rPr lang="fi-FI" dirty="0" err="1"/>
              <a:t>Will</a:t>
            </a:r>
            <a:r>
              <a:rPr lang="fi-FI" dirty="0"/>
              <a:t> </a:t>
            </a:r>
            <a:r>
              <a:rPr lang="fi-FI" dirty="0" err="1"/>
              <a:t>transparent</a:t>
            </a:r>
            <a:r>
              <a:rPr lang="fi-FI" dirty="0"/>
              <a:t> </a:t>
            </a:r>
            <a:r>
              <a:rPr lang="fi-FI" dirty="0" err="1"/>
              <a:t>use</a:t>
            </a:r>
            <a:r>
              <a:rPr lang="fi-FI" dirty="0"/>
              <a:t> of data </a:t>
            </a:r>
            <a:r>
              <a:rPr lang="fi-FI" dirty="0" err="1"/>
              <a:t>lead</a:t>
            </a:r>
            <a:r>
              <a:rPr lang="fi-FI" dirty="0"/>
              <a:t> to </a:t>
            </a:r>
            <a:r>
              <a:rPr lang="fi-FI" dirty="0" err="1"/>
              <a:t>more</a:t>
            </a:r>
            <a:r>
              <a:rPr lang="fi-FI" dirty="0"/>
              <a:t> </a:t>
            </a:r>
            <a:r>
              <a:rPr lang="fi-FI" dirty="0" err="1"/>
              <a:t>sustainable</a:t>
            </a:r>
            <a:r>
              <a:rPr lang="fi-FI" dirty="0"/>
              <a:t> </a:t>
            </a:r>
            <a:r>
              <a:rPr lang="fi-FI" dirty="0" err="1"/>
              <a:t>future</a:t>
            </a:r>
            <a:r>
              <a:rPr lang="fi-FI" dirty="0"/>
              <a:t>?</a:t>
            </a:r>
            <a:endParaRPr lang="en-US" dirty="0"/>
          </a:p>
        </p:txBody>
      </p:sp>
      <p:sp>
        <p:nvSpPr>
          <p:cNvPr id="19" name="Tekstin paikkamerkki 18">
            <a:extLst>
              <a:ext uri="{FF2B5EF4-FFF2-40B4-BE49-F238E27FC236}">
                <a16:creationId xmlns:a16="http://schemas.microsoft.com/office/drawing/2014/main" id="{0A62E3B0-38CB-4A1E-BE22-64C2146348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orakulmio 4">
            <a:extLst>
              <a:ext uri="{FF2B5EF4-FFF2-40B4-BE49-F238E27FC236}">
                <a16:creationId xmlns:a16="http://schemas.microsoft.com/office/drawing/2014/main" id="{8C7DB544-0989-4D7C-8C22-8A31ABB9DC7C}"/>
              </a:ext>
            </a:extLst>
          </p:cNvPr>
          <p:cNvSpPr/>
          <p:nvPr/>
        </p:nvSpPr>
        <p:spPr>
          <a:xfrm>
            <a:off x="0" y="0"/>
            <a:ext cx="4355976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34D63785-F236-40F4-934E-3C0117BAE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28600" y="-206013"/>
            <a:ext cx="5040560" cy="5326281"/>
          </a:xfrm>
          <a:prstGeom prst="rect">
            <a:avLst/>
          </a:prstGeom>
        </p:spPr>
      </p:pic>
      <p:pic>
        <p:nvPicPr>
          <p:cNvPr id="22" name="Kuva 21">
            <a:extLst>
              <a:ext uri="{FF2B5EF4-FFF2-40B4-BE49-F238E27FC236}">
                <a16:creationId xmlns:a16="http://schemas.microsoft.com/office/drawing/2014/main" id="{BC0BBB16-8C9D-4B89-823D-6FED547EF2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0680" y="2139702"/>
            <a:ext cx="4124311" cy="232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7837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>
            <a:extLst>
              <a:ext uri="{FF2B5EF4-FFF2-40B4-BE49-F238E27FC236}">
                <a16:creationId xmlns:a16="http://schemas.microsoft.com/office/drawing/2014/main" id="{FBC220CF-88A1-4257-B0B3-1602848F4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he key distinguishing characteristics of a data-responsible company </a:t>
            </a:r>
            <a:br>
              <a:rPr lang="en-US" sz="2400" dirty="0"/>
            </a:br>
            <a:endParaRPr lang="en-US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06BCB21F-0F9B-47F6-8CDF-42A4E8F5459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552" y="1134656"/>
            <a:ext cx="7704856" cy="324036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The compan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h</a:t>
            </a:r>
            <a:r>
              <a:rPr lang="en-US" sz="1600" dirty="0"/>
              <a:t>as defined the essential data responsibility themes by reviewing data-related opportunities and threats both from its own perspective and from that of its stakehold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creates value with the aid of data – even gratuitously – not only for its own operations but also for people, society and the environ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is transparent with about the collection, management, use, sharing and erasure of dat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takes care that the rights of individuals exceed statutory 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understands its data repositories and has the competence required to use the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has defined ethical principles for developing and using algorithms and artificial intellige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collects data appropriately and transparently and sees to good data life-cycle manage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</a:t>
            </a:r>
            <a:r>
              <a:rPr lang="en-US" sz="1600" dirty="0"/>
              <a:t>hares data with other stakeholders</a:t>
            </a:r>
          </a:p>
          <a:p>
            <a:pPr marL="0" indent="0">
              <a:buNone/>
            </a:pPr>
            <a:endParaRPr lang="fi-FI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24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D3D25D0-A984-485D-84A1-BBAE83E25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1760" y="2067694"/>
            <a:ext cx="6120680" cy="1224136"/>
          </a:xfrm>
        </p:spPr>
        <p:txBody>
          <a:bodyPr/>
          <a:lstStyle/>
          <a:p>
            <a:r>
              <a:rPr lang="fi-FI" dirty="0"/>
              <a:t>Is </a:t>
            </a:r>
            <a:r>
              <a:rPr lang="fi-FI" dirty="0" err="1"/>
              <a:t>there</a:t>
            </a:r>
            <a:r>
              <a:rPr lang="fi-FI" dirty="0"/>
              <a:t> a </a:t>
            </a:r>
            <a:r>
              <a:rPr lang="fi-FI" dirty="0" err="1"/>
              <a:t>potential</a:t>
            </a:r>
            <a:r>
              <a:rPr lang="fi-FI" dirty="0"/>
              <a:t> for </a:t>
            </a:r>
            <a:r>
              <a:rPr lang="fi-FI" dirty="0" err="1"/>
              <a:t>sustainable</a:t>
            </a:r>
            <a:r>
              <a:rPr lang="fi-FI" dirty="0"/>
              <a:t> </a:t>
            </a:r>
            <a:r>
              <a:rPr lang="fi-FI" dirty="0" err="1"/>
              <a:t>digital</a:t>
            </a:r>
            <a:r>
              <a:rPr lang="fi-FI" dirty="0"/>
              <a:t> </a:t>
            </a:r>
            <a:r>
              <a:rPr lang="fi-FI" dirty="0" err="1"/>
              <a:t>businesses</a:t>
            </a:r>
            <a:r>
              <a:rPr lang="fi-FI" dirty="0"/>
              <a:t> </a:t>
            </a:r>
            <a:r>
              <a:rPr lang="fi-FI" dirty="0" err="1"/>
              <a:t>build</a:t>
            </a:r>
            <a:r>
              <a:rPr lang="fi-FI" dirty="0"/>
              <a:t> on data </a:t>
            </a:r>
            <a:r>
              <a:rPr lang="fi-FI" dirty="0" err="1"/>
              <a:t>sharing</a:t>
            </a:r>
            <a:r>
              <a:rPr lang="fi-FI" dirty="0"/>
              <a:t>?</a:t>
            </a:r>
            <a:endParaRPr lang="en-US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7AC769FB-2CA5-4A00-AFDE-87B76275F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346994" cy="505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155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orakulmio 7"/>
          <p:cNvSpPr/>
          <p:nvPr/>
        </p:nvSpPr>
        <p:spPr>
          <a:xfrm>
            <a:off x="30387" y="0"/>
            <a:ext cx="4572001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914900" y="119375"/>
            <a:ext cx="4229100" cy="1120566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Arial Black" charset="0"/>
                <a:ea typeface="Arial Black" charset="0"/>
                <a:cs typeface="Arial Black" charset="0"/>
              </a:rPr>
              <a:t>Sitra toolbox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444151" y="4488741"/>
            <a:ext cx="3755642" cy="5729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 kern="120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marL="356400" indent="-212400" algn="l" defTabSz="457200" rtl="0" eaLnBrk="1" latinLnBrk="0" hangingPunct="1">
              <a:lnSpc>
                <a:spcPct val="90000"/>
              </a:lnSpc>
              <a:spcBef>
                <a:spcPts val="600"/>
              </a:spcBef>
              <a:buFont typeface="Lucida Grande"/>
              <a:buChar char="-"/>
              <a:defRPr sz="1400" kern="120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2pPr>
            <a:lvl3pPr marL="540000" indent="-176400" algn="l" defTabSz="457200" rtl="0" eaLnBrk="1" latinLnBrk="0" hangingPunct="1">
              <a:lnSpc>
                <a:spcPct val="90000"/>
              </a:lnSpc>
              <a:spcBef>
                <a:spcPts val="600"/>
              </a:spcBef>
              <a:buFont typeface="Lucida Grande"/>
              <a:buChar char="-"/>
              <a:defRPr sz="1200" kern="120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3pPr>
            <a:lvl4pPr marL="720000" indent="-1764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Lucida Grande"/>
              <a:buChar char="-"/>
              <a:defRPr sz="1200" kern="1200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4pPr>
            <a:lvl5pPr marL="10800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</a:rPr>
              <a:t>… Building our future 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</a:rPr>
              <a:t>together.</a:t>
            </a:r>
          </a:p>
        </p:txBody>
      </p:sp>
      <p:sp>
        <p:nvSpPr>
          <p:cNvPr id="9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12082" y="119374"/>
            <a:ext cx="4666268" cy="456576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2"/>
                </a:solidFill>
                <a:latin typeface="+mj-lt"/>
              </a:rPr>
              <a:t>Sitra in a nutshell</a:t>
            </a:r>
            <a:endParaRPr lang="en-GB" sz="24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33957" y="979488"/>
            <a:ext cx="3507743" cy="3816350"/>
          </a:xfrm>
        </p:spPr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en-GB" sz="1400" dirty="0">
                <a:solidFill>
                  <a:schemeClr val="bg2"/>
                </a:solidFill>
              </a:rPr>
              <a:t>A gift from Parliament to the 50-year-old Finland 51 years ago. Still under the direct control of the Finnish Parliament.</a:t>
            </a:r>
          </a:p>
          <a:p>
            <a:pPr marL="257175" indent="-257175">
              <a:spcBef>
                <a:spcPts val="1200"/>
              </a:spcBef>
              <a:buFont typeface="+mj-lt"/>
              <a:buAutoNum type="arabicPeriod"/>
            </a:pPr>
            <a:r>
              <a:rPr lang="en-GB" sz="1400" dirty="0">
                <a:solidFill>
                  <a:schemeClr val="bg2"/>
                </a:solidFill>
              </a:rPr>
              <a:t>A think, do and connect tank. An independent future house.</a:t>
            </a:r>
          </a:p>
          <a:p>
            <a:pPr marL="257175" indent="-257175">
              <a:spcBef>
                <a:spcPts val="1200"/>
              </a:spcBef>
              <a:buFont typeface="+mj-lt"/>
              <a:buAutoNum type="arabicPeriod"/>
            </a:pPr>
            <a:r>
              <a:rPr lang="en-GB" sz="1400" dirty="0">
                <a:solidFill>
                  <a:schemeClr val="bg2"/>
                </a:solidFill>
              </a:rPr>
              <a:t>Works towards a fair and sustainable future. </a:t>
            </a:r>
            <a:endParaRPr lang="en-GB" sz="1400" dirty="0">
              <a:solidFill>
                <a:schemeClr val="bg2"/>
              </a:solidFill>
              <a:latin typeface="Georgia" panose="02040502050405020303" pitchFamily="18" charset="0"/>
            </a:endParaRPr>
          </a:p>
          <a:p>
            <a:pPr marL="257175" indent="-257175">
              <a:spcBef>
                <a:spcPts val="1200"/>
              </a:spcBef>
              <a:buFont typeface="+mj-lt"/>
              <a:buAutoNum type="arabicPeriod"/>
            </a:pPr>
            <a:r>
              <a:rPr lang="en-GB" sz="1400" dirty="0">
                <a:solidFill>
                  <a:schemeClr val="bg2"/>
                </a:solidFill>
              </a:rPr>
              <a:t>Funded by returns on endowment capital and capital investments.</a:t>
            </a:r>
          </a:p>
          <a:p>
            <a:pPr marL="257175" indent="-257175">
              <a:spcBef>
                <a:spcPts val="1200"/>
              </a:spcBef>
              <a:buFont typeface="+mj-lt"/>
              <a:buAutoNum type="arabicPeriod"/>
            </a:pPr>
            <a:r>
              <a:rPr lang="en-GB" sz="1400" dirty="0">
                <a:solidFill>
                  <a:schemeClr val="bg2"/>
                </a:solidFill>
              </a:rPr>
              <a:t>The vision is implemented by three themes and hundreds of projects.</a:t>
            </a:r>
          </a:p>
        </p:txBody>
      </p:sp>
      <p:sp>
        <p:nvSpPr>
          <p:cNvPr id="2" name="Suorakulmio 1">
            <a:extLst>
              <a:ext uri="{FF2B5EF4-FFF2-40B4-BE49-F238E27FC236}">
                <a16:creationId xmlns:a16="http://schemas.microsoft.com/office/drawing/2014/main" id="{EAB2F50D-50F4-4C2B-BDA1-D4005DC659DA}"/>
              </a:ext>
            </a:extLst>
          </p:cNvPr>
          <p:cNvSpPr/>
          <p:nvPr/>
        </p:nvSpPr>
        <p:spPr>
          <a:xfrm>
            <a:off x="5967752" y="987426"/>
            <a:ext cx="2510302" cy="299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5600" marR="0" lvl="0" indent="-252000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“Sense making”</a:t>
            </a:r>
          </a:p>
          <a:p>
            <a:pPr marL="255600" marR="0" lvl="0" indent="-252000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Starting a societal debate  and spreading awareness</a:t>
            </a:r>
          </a:p>
          <a:p>
            <a:pPr marL="255600" marR="0" lvl="0" indent="-252000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Forging encounters,     uniting people</a:t>
            </a:r>
          </a:p>
          <a:p>
            <a:pPr marL="255600" marR="0" lvl="0" indent="-252000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Practical trials and pilots</a:t>
            </a:r>
          </a:p>
          <a:p>
            <a:pPr marL="255600" marR="0" lvl="0" indent="-252000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Spreading and establishing new operating models</a:t>
            </a:r>
          </a:p>
          <a:p>
            <a:pPr marL="255600" marR="0" lvl="0" indent="-252000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Building a political and administrative foundation for change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C94D5217-D696-4F2E-B069-655C0B400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3199" y="1926839"/>
            <a:ext cx="2510301" cy="322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500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F77D3D12-D25A-BE40-9687-93FFCEC0870B}"/>
              </a:ext>
            </a:extLst>
          </p:cNvPr>
          <p:cNvSpPr/>
          <p:nvPr/>
        </p:nvSpPr>
        <p:spPr>
          <a:xfrm>
            <a:off x="3707606" y="1743572"/>
            <a:ext cx="1728788" cy="1728788"/>
          </a:xfrm>
          <a:prstGeom prst="ellipse">
            <a:avLst/>
          </a:prstGeom>
          <a:solidFill>
            <a:srgbClr val="FF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B5A0E3C7-6D44-7647-B1EA-F03D26D556AF}"/>
              </a:ext>
            </a:extLst>
          </p:cNvPr>
          <p:cNvSpPr/>
          <p:nvPr/>
        </p:nvSpPr>
        <p:spPr>
          <a:xfrm rot="407606">
            <a:off x="3306546" y="1086853"/>
            <a:ext cx="2674307" cy="2674307"/>
          </a:xfrm>
          <a:prstGeom prst="arc">
            <a:avLst/>
          </a:prstGeom>
          <a:ln w="1270000">
            <a:solidFill>
              <a:srgbClr val="FF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CE3AFCC7-EE4B-954B-BA1C-F46A06103516}"/>
              </a:ext>
            </a:extLst>
          </p:cNvPr>
          <p:cNvSpPr/>
          <p:nvPr/>
        </p:nvSpPr>
        <p:spPr>
          <a:xfrm flipH="1">
            <a:off x="3232785" y="1048327"/>
            <a:ext cx="2674307" cy="2674307"/>
          </a:xfrm>
          <a:prstGeom prst="arc">
            <a:avLst/>
          </a:prstGeom>
          <a:ln w="1270000">
            <a:solidFill>
              <a:srgbClr val="FF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11A2E868-C7B5-C04C-8FEB-77E0BD95DEB4}"/>
              </a:ext>
            </a:extLst>
          </p:cNvPr>
          <p:cNvSpPr/>
          <p:nvPr/>
        </p:nvSpPr>
        <p:spPr>
          <a:xfrm rot="15969883" flipH="1">
            <a:off x="2998357" y="1218114"/>
            <a:ext cx="2674307" cy="2674307"/>
          </a:xfrm>
          <a:prstGeom prst="arc">
            <a:avLst/>
          </a:prstGeom>
          <a:ln w="1270000">
            <a:solidFill>
              <a:srgbClr val="FF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090A5058-7552-ED4E-991A-FCC81A17AB2D}"/>
              </a:ext>
            </a:extLst>
          </p:cNvPr>
          <p:cNvSpPr/>
          <p:nvPr/>
        </p:nvSpPr>
        <p:spPr>
          <a:xfrm rot="11021448" flipH="1">
            <a:off x="3391320" y="1413421"/>
            <a:ext cx="2674307" cy="2674307"/>
          </a:xfrm>
          <a:prstGeom prst="arc">
            <a:avLst/>
          </a:prstGeom>
          <a:ln w="1270000">
            <a:solidFill>
              <a:srgbClr val="FF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9F1E9A-3D5F-9A41-A865-6A04E7200699}"/>
              </a:ext>
            </a:extLst>
          </p:cNvPr>
          <p:cNvSpPr txBox="1"/>
          <p:nvPr/>
        </p:nvSpPr>
        <p:spPr>
          <a:xfrm>
            <a:off x="3509146" y="1981476"/>
            <a:ext cx="2129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Ecological reconstruction</a:t>
            </a:r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604020202020204" pitchFamily="34" charset="0"/>
              <a:ea typeface="+mn-ea"/>
              <a:cs typeface="Arial Black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is a matter of urgenc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8DAE48-02D9-744D-8562-4EBC3B2FD987}"/>
              </a:ext>
            </a:extLst>
          </p:cNvPr>
          <p:cNvSpPr txBox="1"/>
          <p:nvPr/>
        </p:nvSpPr>
        <p:spPr>
          <a:xfrm>
            <a:off x="5700332" y="915680"/>
            <a:ext cx="2476881" cy="646331"/>
          </a:xfrm>
          <a:prstGeom prst="rect">
            <a:avLst/>
          </a:prstGeom>
          <a:solidFill>
            <a:srgbClr val="73C92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Relational</a:t>
            </a:r>
            <a:r>
              <a:rPr kumimoji="0" lang="fi-FI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 </a:t>
            </a:r>
            <a:r>
              <a:rPr kumimoji="0" lang="fi-FI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power</a:t>
            </a:r>
            <a:r>
              <a:rPr kumimoji="0" lang="fi-FI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 is </a:t>
            </a:r>
            <a:r>
              <a:rPr kumimoji="0" lang="fi-FI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strengthening</a:t>
            </a:r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604020202020204" pitchFamily="34" charset="0"/>
              <a:ea typeface="+mn-ea"/>
              <a:cs typeface="Arial Black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80EA62-86FE-7041-923B-30534CB683D0}"/>
              </a:ext>
            </a:extLst>
          </p:cNvPr>
          <p:cNvSpPr txBox="1"/>
          <p:nvPr/>
        </p:nvSpPr>
        <p:spPr>
          <a:xfrm>
            <a:off x="5679838" y="3742774"/>
            <a:ext cx="3160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73C92D"/>
                </a:highlight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Technology is becoming embedded in everyth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63C3F1-B2F7-AC47-85FD-FFBEC5C6D7E9}"/>
              </a:ext>
            </a:extLst>
          </p:cNvPr>
          <p:cNvSpPr txBox="1"/>
          <p:nvPr/>
        </p:nvSpPr>
        <p:spPr>
          <a:xfrm>
            <a:off x="811186" y="3605182"/>
            <a:ext cx="26374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The economy is seeking direc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029966-EDD0-254C-8986-CB3B4E4145B3}"/>
              </a:ext>
            </a:extLst>
          </p:cNvPr>
          <p:cNvSpPr txBox="1"/>
          <p:nvPr/>
        </p:nvSpPr>
        <p:spPr>
          <a:xfrm>
            <a:off x="887618" y="855398"/>
            <a:ext cx="26374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The population is ageing and diversifying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2506D4D-B56F-9F4C-8872-FEE623937F6B}"/>
              </a:ext>
            </a:extLst>
          </p:cNvPr>
          <p:cNvSpPr/>
          <p:nvPr/>
        </p:nvSpPr>
        <p:spPr>
          <a:xfrm>
            <a:off x="6241062" y="2629754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F1128F1-5DA1-6C4F-9BD2-D95E9E62CB50}"/>
              </a:ext>
            </a:extLst>
          </p:cNvPr>
          <p:cNvSpPr/>
          <p:nvPr/>
        </p:nvSpPr>
        <p:spPr>
          <a:xfrm>
            <a:off x="4432648" y="3924169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85FF3FB-1CFA-0B42-8A4E-F4A6359FE70A}"/>
              </a:ext>
            </a:extLst>
          </p:cNvPr>
          <p:cNvSpPr/>
          <p:nvPr/>
        </p:nvSpPr>
        <p:spPr>
          <a:xfrm>
            <a:off x="3337080" y="2387228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4DFAA37-1F00-154B-8FC0-EA4284468F0D}"/>
              </a:ext>
            </a:extLst>
          </p:cNvPr>
          <p:cNvSpPr/>
          <p:nvPr/>
        </p:nvSpPr>
        <p:spPr>
          <a:xfrm>
            <a:off x="4568992" y="1069737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A29344E-31D7-2D4A-8DAC-489A5561CDF4}"/>
              </a:ext>
            </a:extLst>
          </p:cNvPr>
          <p:cNvSpPr/>
          <p:nvPr/>
        </p:nvSpPr>
        <p:spPr>
          <a:xfrm>
            <a:off x="5216966" y="3100863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99B6D9E-C458-B641-A988-EF1C0BD92A02}"/>
              </a:ext>
            </a:extLst>
          </p:cNvPr>
          <p:cNvSpPr/>
          <p:nvPr/>
        </p:nvSpPr>
        <p:spPr>
          <a:xfrm>
            <a:off x="3589622" y="2869239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4C649F8-7F40-F749-BEA9-10FE6AAFCB12}"/>
              </a:ext>
            </a:extLst>
          </p:cNvPr>
          <p:cNvSpPr/>
          <p:nvPr/>
        </p:nvSpPr>
        <p:spPr>
          <a:xfrm>
            <a:off x="4041553" y="1637556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1C167B0-4CCC-5A41-ADBB-40F6082F4091}"/>
              </a:ext>
            </a:extLst>
          </p:cNvPr>
          <p:cNvSpPr/>
          <p:nvPr/>
        </p:nvSpPr>
        <p:spPr>
          <a:xfrm>
            <a:off x="4876750" y="1637556"/>
            <a:ext cx="219428" cy="21942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F488978-B19C-6E48-BFCF-67D70BF64661}"/>
              </a:ext>
            </a:extLst>
          </p:cNvPr>
          <p:cNvSpPr txBox="1"/>
          <p:nvPr/>
        </p:nvSpPr>
        <p:spPr>
          <a:xfrm>
            <a:off x="4089361" y="512451"/>
            <a:ext cx="1140550" cy="415498"/>
          </a:xfrm>
          <a:prstGeom prst="rect">
            <a:avLst/>
          </a:prstGeom>
          <a:solidFill>
            <a:srgbClr val="73C92D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tribes and communiti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710750-EAEE-1741-B636-59BC9F50CD67}"/>
              </a:ext>
            </a:extLst>
          </p:cNvPr>
          <p:cNvSpPr txBox="1"/>
          <p:nvPr/>
        </p:nvSpPr>
        <p:spPr>
          <a:xfrm>
            <a:off x="5127022" y="1644607"/>
            <a:ext cx="31606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ralised decisions or broad engagement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E8CF47-F758-A846-B298-7508C27DCAA2}"/>
              </a:ext>
            </a:extLst>
          </p:cNvPr>
          <p:cNvSpPr txBox="1"/>
          <p:nvPr/>
        </p:nvSpPr>
        <p:spPr>
          <a:xfrm>
            <a:off x="5425691" y="3085826"/>
            <a:ext cx="31606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 solutions opportunities or threats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B5CFF1-4EA4-A341-ABE1-ED502CD40A5A}"/>
              </a:ext>
            </a:extLst>
          </p:cNvPr>
          <p:cNvSpPr txBox="1"/>
          <p:nvPr/>
        </p:nvSpPr>
        <p:spPr>
          <a:xfrm>
            <a:off x="6462713" y="2608729"/>
            <a:ext cx="31606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wer over the futu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C5C75C-85C4-D046-806A-0353E60A45F0}"/>
              </a:ext>
            </a:extLst>
          </p:cNvPr>
          <p:cNvSpPr txBox="1"/>
          <p:nvPr/>
        </p:nvSpPr>
        <p:spPr>
          <a:xfrm>
            <a:off x="191557" y="2377133"/>
            <a:ext cx="31606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ility gap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C9740D7-8518-C94D-B06E-8FAE9D8207F8}"/>
              </a:ext>
            </a:extLst>
          </p:cNvPr>
          <p:cNvSpPr txBox="1"/>
          <p:nvPr/>
        </p:nvSpPr>
        <p:spPr>
          <a:xfrm>
            <a:off x="1415095" y="2795864"/>
            <a:ext cx="217407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environment as a resource or improving the state of the environment?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15DDC80-198B-C44F-B4E1-2D802BAC58BC}"/>
              </a:ext>
            </a:extLst>
          </p:cNvPr>
          <p:cNvSpPr txBox="1"/>
          <p:nvPr/>
        </p:nvSpPr>
        <p:spPr>
          <a:xfrm>
            <a:off x="865504" y="1629881"/>
            <a:ext cx="31606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ir or unequal transition?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BB96932-0F68-AE4F-8427-FD5B6705B749}"/>
              </a:ext>
            </a:extLst>
          </p:cNvPr>
          <p:cNvSpPr txBox="1"/>
          <p:nvPr/>
        </p:nvSpPr>
        <p:spPr>
          <a:xfrm>
            <a:off x="3974733" y="4177546"/>
            <a:ext cx="115837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nge in work and consump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F7FAA65-2266-884A-BE13-5056D96830B2}"/>
              </a:ext>
            </a:extLst>
          </p:cNvPr>
          <p:cNvSpPr txBox="1"/>
          <p:nvPr/>
        </p:nvSpPr>
        <p:spPr>
          <a:xfrm>
            <a:off x="114070" y="161216"/>
            <a:ext cx="47282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050" b="1" i="0" u="none" strike="noStrike" kern="1200" cap="none" spc="2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SITRA’S MEGATRENDS 2020</a:t>
            </a:r>
          </a:p>
        </p:txBody>
      </p:sp>
    </p:spTree>
    <p:extLst>
      <p:ext uri="{BB962C8B-B14F-4D97-AF65-F5344CB8AC3E}">
        <p14:creationId xmlns:p14="http://schemas.microsoft.com/office/powerpoint/2010/main" val="2279941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>
            <a:extLst>
              <a:ext uri="{FF2B5EF4-FFF2-40B4-BE49-F238E27FC236}">
                <a16:creationId xmlns:a16="http://schemas.microsoft.com/office/drawing/2014/main" id="{9821717A-64A2-47EF-B948-01AE90222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background</a:t>
            </a:r>
            <a:endParaRPr lang="en-US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69358F1A-9570-4A74-8F36-A91A0024C2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5923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>
            <a:extLst>
              <a:ext uri="{FF2B5EF4-FFF2-40B4-BE49-F238E27FC236}">
                <a16:creationId xmlns:a16="http://schemas.microsoft.com/office/drawing/2014/main" id="{1B05A61F-1620-4C2F-B171-04039AAA91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601" r="1963" b="6601"/>
          <a:stretch/>
        </p:blipFill>
        <p:spPr>
          <a:xfrm>
            <a:off x="611560" y="1347614"/>
            <a:ext cx="7392908" cy="3384897"/>
          </a:xfrm>
          <a:prstGeom prst="rect">
            <a:avLst/>
          </a:prstGeom>
        </p:spPr>
      </p:pic>
      <p:sp>
        <p:nvSpPr>
          <p:cNvPr id="8" name="Otsikko 7">
            <a:extLst>
              <a:ext uri="{FF2B5EF4-FFF2-40B4-BE49-F238E27FC236}">
                <a16:creationId xmlns:a16="http://schemas.microsoft.com/office/drawing/2014/main" id="{32368075-9D4D-47B1-82D9-87CCB9E0F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he</a:t>
            </a:r>
            <a:r>
              <a:rPr lang="fi-FI" dirty="0"/>
              <a:t> EU as a </a:t>
            </a:r>
            <a:r>
              <a:rPr lang="fi-FI" dirty="0" err="1"/>
              <a:t>role</a:t>
            </a:r>
            <a:r>
              <a:rPr lang="fi-FI" dirty="0"/>
              <a:t> </a:t>
            </a:r>
            <a:r>
              <a:rPr lang="fi-FI" dirty="0" err="1"/>
              <a:t>model</a:t>
            </a:r>
            <a:r>
              <a:rPr lang="fi-FI" dirty="0"/>
              <a:t> for data-</a:t>
            </a:r>
            <a:r>
              <a:rPr lang="fi-FI" dirty="0" err="1"/>
              <a:t>driven</a:t>
            </a:r>
            <a:r>
              <a:rPr lang="fi-FI" dirty="0"/>
              <a:t> </a:t>
            </a:r>
            <a:r>
              <a:rPr lang="fi-FI" dirty="0" err="1"/>
              <a:t>society</a:t>
            </a:r>
            <a:r>
              <a:rPr lang="fi-FI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4336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225B4C51-70F3-4D45-BE70-31FD765D88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50" t="10801" r="3539" b="22000"/>
          <a:stretch/>
        </p:blipFill>
        <p:spPr>
          <a:xfrm>
            <a:off x="251520" y="1031847"/>
            <a:ext cx="6984776" cy="2817389"/>
          </a:xfrm>
          <a:prstGeom prst="rect">
            <a:avLst/>
          </a:prstGeom>
        </p:spPr>
      </p:pic>
      <p:sp>
        <p:nvSpPr>
          <p:cNvPr id="8" name="Tekstiruutu 7">
            <a:extLst>
              <a:ext uri="{FF2B5EF4-FFF2-40B4-BE49-F238E27FC236}">
                <a16:creationId xmlns:a16="http://schemas.microsoft.com/office/drawing/2014/main" id="{94776448-4B16-4E7E-9A0D-82853B789DF7}"/>
              </a:ext>
            </a:extLst>
          </p:cNvPr>
          <p:cNvSpPr txBox="1"/>
          <p:nvPr/>
        </p:nvSpPr>
        <p:spPr>
          <a:xfrm>
            <a:off x="1403648" y="3435846"/>
            <a:ext cx="6768752" cy="1754326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US" sz="1200" dirty="0"/>
              <a:t>EC Communication COM(2020) 103: “An SME Strategy for a sustainable and digital Europe”. Some key actions:</a:t>
            </a:r>
          </a:p>
          <a:p>
            <a:endParaRPr lang="en-US" sz="1200" dirty="0"/>
          </a:p>
          <a:p>
            <a:r>
              <a:rPr lang="en-US" sz="1200" dirty="0"/>
              <a:t>The Commission will upgrade the Enterprise Europe Network including with dedicated </a:t>
            </a:r>
            <a:r>
              <a:rPr lang="en-US" sz="1200" b="1" dirty="0"/>
              <a:t>Sustainability Advisors </a:t>
            </a:r>
            <a:r>
              <a:rPr lang="en-US" sz="1200" dirty="0"/>
              <a:t>and other sustainability services.</a:t>
            </a:r>
          </a:p>
          <a:p>
            <a:endParaRPr lang="en-US" sz="1200" dirty="0"/>
          </a:p>
          <a:p>
            <a:r>
              <a:rPr lang="en-US" sz="1200" dirty="0"/>
              <a:t>The Commission will develop </a:t>
            </a:r>
            <a:r>
              <a:rPr lang="en-US" sz="1200" b="1" dirty="0"/>
              <a:t>Digital Crash Course</a:t>
            </a:r>
            <a:r>
              <a:rPr lang="en-US" sz="1200" dirty="0"/>
              <a:t>s for SME employees to become proficient in areas such as </a:t>
            </a:r>
            <a:r>
              <a:rPr lang="en-US" sz="1200" b="1" dirty="0"/>
              <a:t>AI, cybersecurity </a:t>
            </a:r>
            <a:r>
              <a:rPr lang="en-US" sz="1200" dirty="0"/>
              <a:t>or </a:t>
            </a:r>
            <a:r>
              <a:rPr lang="en-US" sz="1200" b="1" dirty="0"/>
              <a:t>blockchain</a:t>
            </a:r>
            <a:r>
              <a:rPr lang="en-US" sz="1200" dirty="0"/>
              <a:t>.</a:t>
            </a:r>
          </a:p>
          <a:p>
            <a:endParaRPr lang="en-US" sz="1200" dirty="0"/>
          </a:p>
        </p:txBody>
      </p:sp>
      <p:sp>
        <p:nvSpPr>
          <p:cNvPr id="5" name="Otsikko 4">
            <a:extLst>
              <a:ext uri="{FF2B5EF4-FFF2-40B4-BE49-F238E27FC236}">
                <a16:creationId xmlns:a16="http://schemas.microsoft.com/office/drawing/2014/main" id="{D4480A7A-30BD-4EC5-96E8-A818EEA6B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1" y="267494"/>
            <a:ext cx="8136905" cy="864096"/>
          </a:xfrm>
        </p:spPr>
        <p:txBody>
          <a:bodyPr/>
          <a:lstStyle/>
          <a:p>
            <a:r>
              <a:rPr lang="en-US" b="1" dirty="0"/>
              <a:t>T</a:t>
            </a:r>
            <a:r>
              <a:rPr lang="en-US" b="1" i="0" dirty="0">
                <a:effectLst/>
              </a:rPr>
              <a:t>win transition</a:t>
            </a:r>
            <a:r>
              <a:rPr lang="en-US" b="0" i="0" dirty="0">
                <a:effectLst/>
              </a:rPr>
              <a:t> to a </a:t>
            </a:r>
            <a:r>
              <a:rPr lang="en-US" b="1" i="0" dirty="0">
                <a:effectLst/>
              </a:rPr>
              <a:t>green</a:t>
            </a:r>
            <a:r>
              <a:rPr lang="en-US" b="0" i="0" dirty="0">
                <a:effectLst/>
              </a:rPr>
              <a:t> and </a:t>
            </a:r>
            <a:r>
              <a:rPr lang="en-US" b="1" i="0" dirty="0">
                <a:effectLst/>
              </a:rPr>
              <a:t>digital</a:t>
            </a:r>
            <a:r>
              <a:rPr lang="en-US" b="0" i="0" dirty="0">
                <a:effectLst/>
              </a:rPr>
              <a:t> economy? </a:t>
            </a:r>
            <a:endParaRPr lang="en-US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AC3F22A6-90AE-4B19-B545-9E08B02715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i-FI" dirty="0"/>
          </a:p>
          <a:p>
            <a:endParaRPr lang="en-US" dirty="0"/>
          </a:p>
          <a:p>
            <a:r>
              <a:rPr lang="en-US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1762690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>
            <a:extLst>
              <a:ext uri="{FF2B5EF4-FFF2-40B4-BE49-F238E27FC236}">
                <a16:creationId xmlns:a16="http://schemas.microsoft.com/office/drawing/2014/main" id="{11837B40-250D-4BFA-BAE8-0045A1F6B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1" y="267494"/>
            <a:ext cx="8352929" cy="864096"/>
          </a:xfrm>
        </p:spPr>
        <p:txBody>
          <a:bodyPr/>
          <a:lstStyle/>
          <a:p>
            <a:r>
              <a:rPr lang="fi-FI" dirty="0" err="1"/>
              <a:t>Interaction</a:t>
            </a:r>
            <a:r>
              <a:rPr lang="fi-FI" dirty="0"/>
              <a:t> </a:t>
            </a:r>
            <a:r>
              <a:rPr lang="fi-FI" dirty="0" err="1"/>
              <a:t>between</a:t>
            </a:r>
            <a:r>
              <a:rPr lang="fi-FI" dirty="0"/>
              <a:t> </a:t>
            </a:r>
            <a:r>
              <a:rPr lang="fi-FI" dirty="0" err="1"/>
              <a:t>digital</a:t>
            </a:r>
            <a:r>
              <a:rPr lang="fi-FI" dirty="0"/>
              <a:t> and </a:t>
            </a:r>
            <a:r>
              <a:rPr lang="fi-FI" dirty="0" err="1"/>
              <a:t>climate</a:t>
            </a:r>
            <a:endParaRPr lang="en-US" dirty="0"/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48F49848-DDA0-4801-910B-5AEBD606786D}"/>
              </a:ext>
            </a:extLst>
          </p:cNvPr>
          <p:cNvSpPr txBox="1"/>
          <p:nvPr/>
        </p:nvSpPr>
        <p:spPr>
          <a:xfrm>
            <a:off x="4355976" y="4669020"/>
            <a:ext cx="368028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 dirty="0">
                <a:latin typeface="Georgia"/>
              </a:rPr>
              <a:t>Source: E3G blog Jun 2020 by Johanna Lehne &amp; </a:t>
            </a:r>
          </a:p>
          <a:p>
            <a:r>
              <a:rPr lang="en-US" sz="1100" i="1" dirty="0">
                <a:latin typeface="Georgia"/>
              </a:rPr>
              <a:t>Sara </a:t>
            </a:r>
            <a:r>
              <a:rPr lang="en-US" sz="1100" i="1" dirty="0" err="1">
                <a:latin typeface="Georgia"/>
              </a:rPr>
              <a:t>Dethier</a:t>
            </a:r>
            <a:r>
              <a:rPr lang="en-US" sz="1100" i="1" dirty="0">
                <a:latin typeface="Georgia"/>
              </a:rPr>
              <a:t> https://www.e3g.org/</a:t>
            </a:r>
          </a:p>
        </p:txBody>
      </p:sp>
      <p:sp>
        <p:nvSpPr>
          <p:cNvPr id="12" name="Tekstin paikkamerkki 6">
            <a:extLst>
              <a:ext uri="{FF2B5EF4-FFF2-40B4-BE49-F238E27FC236}">
                <a16:creationId xmlns:a16="http://schemas.microsoft.com/office/drawing/2014/main" id="{B12C1D16-BC0D-42C5-B8D9-F96F047E146C}"/>
              </a:ext>
            </a:extLst>
          </p:cNvPr>
          <p:cNvSpPr txBox="1">
            <a:spLocks/>
          </p:cNvSpPr>
          <p:nvPr/>
        </p:nvSpPr>
        <p:spPr>
          <a:xfrm>
            <a:off x="5317071" y="1520458"/>
            <a:ext cx="3680281" cy="3240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1600" b="0" i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355600" indent="-176213" algn="l" defTabSz="457200" rtl="0" eaLnBrk="1" latinLnBrk="0" hangingPunct="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b="0" i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534988" indent="-176213" algn="l" defTabSz="536575" rtl="0" eaLnBrk="1" latinLnBrk="0" hangingPunct="1">
              <a:lnSpc>
                <a:spcPct val="90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 b="0" i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719138" indent="-176213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Georgia" panose="02040502050405020303" pitchFamily="18" charset="0"/>
              <a:buChar char="–"/>
              <a:defRPr sz="1200" b="0" i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0800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i-FI" sz="1400" dirty="0"/>
          </a:p>
          <a:p>
            <a:pPr marL="0" indent="0">
              <a:buNone/>
            </a:pPr>
            <a:endParaRPr lang="fi-FI" sz="1400" dirty="0"/>
          </a:p>
        </p:txBody>
      </p:sp>
      <p:graphicFrame>
        <p:nvGraphicFramePr>
          <p:cNvPr id="29" name="Taulukko 29">
            <a:extLst>
              <a:ext uri="{FF2B5EF4-FFF2-40B4-BE49-F238E27FC236}">
                <a16:creationId xmlns:a16="http://schemas.microsoft.com/office/drawing/2014/main" id="{EDF8B591-4392-40D7-8AAE-4DEC2E675F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1307594"/>
              </p:ext>
            </p:extLst>
          </p:nvPr>
        </p:nvGraphicFramePr>
        <p:xfrm>
          <a:off x="410012" y="1565745"/>
          <a:ext cx="8659027" cy="29276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38484">
                  <a:extLst>
                    <a:ext uri="{9D8B030D-6E8A-4147-A177-3AD203B41FA5}">
                      <a16:colId xmlns:a16="http://schemas.microsoft.com/office/drawing/2014/main" val="3451199252"/>
                    </a:ext>
                  </a:extLst>
                </a:gridCol>
                <a:gridCol w="968623">
                  <a:extLst>
                    <a:ext uri="{9D8B030D-6E8A-4147-A177-3AD203B41FA5}">
                      <a16:colId xmlns:a16="http://schemas.microsoft.com/office/drawing/2014/main" val="533108444"/>
                    </a:ext>
                  </a:extLst>
                </a:gridCol>
                <a:gridCol w="3851920">
                  <a:extLst>
                    <a:ext uri="{9D8B030D-6E8A-4147-A177-3AD203B41FA5}">
                      <a16:colId xmlns:a16="http://schemas.microsoft.com/office/drawing/2014/main" val="653834898"/>
                    </a:ext>
                  </a:extLst>
                </a:gridCol>
              </a:tblGrid>
              <a:tr h="106123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Geographic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location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data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entr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s a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result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ng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limat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increas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limat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impact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uppl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in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ecurit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acces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to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ritic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raw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aterial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for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produc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digit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technologies</a:t>
                      </a:r>
                      <a:endParaRPr lang="fi-FI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 b="1" dirty="0">
                          <a:solidFill>
                            <a:schemeClr val="tx1"/>
                          </a:solidFill>
                        </a:rPr>
                        <a:t>Direct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Energy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aterial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used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in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th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production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digit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technologi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design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durabilit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digit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technologi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energ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us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efficienc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data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entr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e-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wast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manag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401244"/>
                  </a:ext>
                </a:extLst>
              </a:tr>
              <a:tr h="91951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Open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up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new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arket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los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old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arket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.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Accelerat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penetration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digit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technologi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as a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result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ng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need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opportunities</a:t>
                      </a:r>
                      <a:endParaRPr lang="fi-FI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1" kern="1200" dirty="0" err="1">
                          <a:solidFill>
                            <a:schemeClr val="tx1"/>
                          </a:solidFill>
                        </a:rPr>
                        <a:t>Enabling</a:t>
                      </a:r>
                      <a:endParaRPr lang="en-US" sz="1200" b="1" kern="12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Improved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operation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efficienc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industri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plan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process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better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design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ateri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efficiency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dematerialization</a:t>
                      </a:r>
                      <a:endParaRPr lang="fi-FI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9319347"/>
                  </a:ext>
                </a:extLst>
              </a:tr>
              <a:tr h="946933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Behaviour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ng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economic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oci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ng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</a:p>
                    <a:p>
                      <a:pPr marL="0" indent="0" algn="l">
                        <a:buNone/>
                      </a:pP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governanc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tructures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 b="1" kern="1200" dirty="0" err="1">
                          <a:solidFill>
                            <a:schemeClr val="tx1"/>
                          </a:solidFill>
                        </a:rPr>
                        <a:t>Systemic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hift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behaviour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oci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norm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ng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how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w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govern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onitor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policies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changing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how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w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organise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social</a:t>
                      </a:r>
                      <a:r>
                        <a:rPr lang="fi-FI" sz="12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i-FI" sz="1200" b="0" dirty="0" err="1">
                          <a:solidFill>
                            <a:schemeClr val="tx1"/>
                          </a:solidFill>
                        </a:rPr>
                        <a:t>movement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7883320"/>
                  </a:ext>
                </a:extLst>
              </a:tr>
            </a:tbl>
          </a:graphicData>
        </a:graphic>
      </p:graphicFrame>
      <p:grpSp>
        <p:nvGrpSpPr>
          <p:cNvPr id="34" name="Ryhmä 33">
            <a:extLst>
              <a:ext uri="{FF2B5EF4-FFF2-40B4-BE49-F238E27FC236}">
                <a16:creationId xmlns:a16="http://schemas.microsoft.com/office/drawing/2014/main" id="{383E886E-7649-4E5A-9959-B12FBCEB23AB}"/>
              </a:ext>
            </a:extLst>
          </p:cNvPr>
          <p:cNvGrpSpPr/>
          <p:nvPr/>
        </p:nvGrpSpPr>
        <p:grpSpPr>
          <a:xfrm>
            <a:off x="2771799" y="3651870"/>
            <a:ext cx="1440161" cy="1518887"/>
            <a:chOff x="4067944" y="2767960"/>
            <a:chExt cx="1707793" cy="2375540"/>
          </a:xfrm>
        </p:grpSpPr>
        <p:pic>
          <p:nvPicPr>
            <p:cNvPr id="31" name="Kuva 30" descr="Kuva, joka sisältää kohteen pitäminen, henkilö, käsi, mies&#10;&#10;Kuvaus luotu automaattisesti">
              <a:extLst>
                <a:ext uri="{FF2B5EF4-FFF2-40B4-BE49-F238E27FC236}">
                  <a16:creationId xmlns:a16="http://schemas.microsoft.com/office/drawing/2014/main" id="{FDC10AA4-03B8-4EE7-A49E-AE3E4898B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7944" y="2767960"/>
              <a:ext cx="1707793" cy="2375540"/>
            </a:xfrm>
            <a:prstGeom prst="rect">
              <a:avLst/>
            </a:prstGeom>
          </p:spPr>
        </p:pic>
        <p:pic>
          <p:nvPicPr>
            <p:cNvPr id="33" name="Kuva 32">
              <a:extLst>
                <a:ext uri="{FF2B5EF4-FFF2-40B4-BE49-F238E27FC236}">
                  <a16:creationId xmlns:a16="http://schemas.microsoft.com/office/drawing/2014/main" id="{6EA115CA-E589-4D56-BBD1-EA3D349298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9308" t="72286"/>
            <a:stretch/>
          </p:blipFill>
          <p:spPr>
            <a:xfrm>
              <a:off x="4611892" y="3666306"/>
              <a:ext cx="619896" cy="720080"/>
            </a:xfrm>
            <a:prstGeom prst="rect">
              <a:avLst/>
            </a:prstGeom>
          </p:spPr>
        </p:pic>
      </p:grpSp>
      <p:sp>
        <p:nvSpPr>
          <p:cNvPr id="38" name="Suorakulmio 37">
            <a:extLst>
              <a:ext uri="{FF2B5EF4-FFF2-40B4-BE49-F238E27FC236}">
                <a16:creationId xmlns:a16="http://schemas.microsoft.com/office/drawing/2014/main" id="{A237A8F3-8052-46FD-9E74-0913D484E7AA}"/>
              </a:ext>
            </a:extLst>
          </p:cNvPr>
          <p:cNvSpPr/>
          <p:nvPr/>
        </p:nvSpPr>
        <p:spPr>
          <a:xfrm>
            <a:off x="539551" y="1106585"/>
            <a:ext cx="8451709" cy="412602"/>
          </a:xfrm>
          <a:prstGeom prst="rect">
            <a:avLst/>
          </a:prstGeom>
          <a:solidFill>
            <a:srgbClr val="73C92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kstiruutu 38">
            <a:extLst>
              <a:ext uri="{FF2B5EF4-FFF2-40B4-BE49-F238E27FC236}">
                <a16:creationId xmlns:a16="http://schemas.microsoft.com/office/drawing/2014/main" id="{8C6F0F32-2D12-4C78-8C40-5BB03812EAEE}"/>
              </a:ext>
            </a:extLst>
          </p:cNvPr>
          <p:cNvSpPr txBox="1"/>
          <p:nvPr/>
        </p:nvSpPr>
        <p:spPr>
          <a:xfrm>
            <a:off x="1691680" y="1187823"/>
            <a:ext cx="8640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b="0" i="0" dirty="0">
                <a:latin typeface="+mj-lt"/>
              </a:rPr>
              <a:t>Digital</a:t>
            </a:r>
            <a:endParaRPr lang="en-US" sz="1600" b="0" i="0" dirty="0">
              <a:latin typeface="+mj-lt"/>
            </a:endParaRPr>
          </a:p>
        </p:txBody>
      </p:sp>
      <p:sp>
        <p:nvSpPr>
          <p:cNvPr id="41" name="Tekstiruutu 40">
            <a:extLst>
              <a:ext uri="{FF2B5EF4-FFF2-40B4-BE49-F238E27FC236}">
                <a16:creationId xmlns:a16="http://schemas.microsoft.com/office/drawing/2014/main" id="{3798F128-C47D-4115-8458-F1F2D4F4F976}"/>
              </a:ext>
            </a:extLst>
          </p:cNvPr>
          <p:cNvSpPr txBox="1"/>
          <p:nvPr/>
        </p:nvSpPr>
        <p:spPr>
          <a:xfrm>
            <a:off x="6804248" y="1203865"/>
            <a:ext cx="8640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b="0" i="0" dirty="0" err="1">
                <a:latin typeface="+mj-lt"/>
              </a:rPr>
              <a:t>Climate</a:t>
            </a:r>
            <a:endParaRPr lang="en-US" sz="1600" b="0" i="0" dirty="0">
              <a:latin typeface="+mj-lt"/>
            </a:endParaRPr>
          </a:p>
        </p:txBody>
      </p:sp>
      <p:sp>
        <p:nvSpPr>
          <p:cNvPr id="37" name="Nuoli: Vasen-oikea 36">
            <a:extLst>
              <a:ext uri="{FF2B5EF4-FFF2-40B4-BE49-F238E27FC236}">
                <a16:creationId xmlns:a16="http://schemas.microsoft.com/office/drawing/2014/main" id="{4AD5E3D5-9F5D-46B9-B396-26E9E5900E5D}"/>
              </a:ext>
            </a:extLst>
          </p:cNvPr>
          <p:cNvSpPr/>
          <p:nvPr/>
        </p:nvSpPr>
        <p:spPr>
          <a:xfrm>
            <a:off x="2987824" y="1151871"/>
            <a:ext cx="3456384" cy="298215"/>
          </a:xfrm>
          <a:prstGeom prst="leftRightArrow">
            <a:avLst>
              <a:gd name="adj1" fmla="val 69740"/>
              <a:gd name="adj2" fmla="val 3449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kstiruutu 41">
            <a:extLst>
              <a:ext uri="{FF2B5EF4-FFF2-40B4-BE49-F238E27FC236}">
                <a16:creationId xmlns:a16="http://schemas.microsoft.com/office/drawing/2014/main" id="{1B8318EA-917F-4BE1-BF20-ACE676597789}"/>
              </a:ext>
            </a:extLst>
          </p:cNvPr>
          <p:cNvSpPr txBox="1"/>
          <p:nvPr/>
        </p:nvSpPr>
        <p:spPr>
          <a:xfrm>
            <a:off x="2934893" y="1233055"/>
            <a:ext cx="36092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200" b="1" dirty="0" err="1">
                <a:latin typeface="+mn-lt"/>
              </a:rPr>
              <a:t>Impacts</a:t>
            </a:r>
            <a:endParaRPr lang="en-US" sz="12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663272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>
            <a:extLst>
              <a:ext uri="{FF2B5EF4-FFF2-40B4-BE49-F238E27FC236}">
                <a16:creationId xmlns:a16="http://schemas.microsoft.com/office/drawing/2014/main" id="{9821717A-64A2-47EF-B948-01AE90222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promise</a:t>
            </a:r>
            <a:r>
              <a:rPr lang="fi-FI" dirty="0"/>
              <a:t> of </a:t>
            </a:r>
            <a:r>
              <a:rPr lang="fi-FI" dirty="0" err="1"/>
              <a:t>fair</a:t>
            </a:r>
            <a:r>
              <a:rPr lang="fi-FI" dirty="0"/>
              <a:t> data </a:t>
            </a:r>
            <a:r>
              <a:rPr lang="fi-FI" dirty="0" err="1"/>
              <a:t>econom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7370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3D328F2-D0E3-544C-9CAD-E99557B27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0528" y="1275606"/>
            <a:ext cx="6876256" cy="3867894"/>
          </a:xfrm>
          <a:prstGeom prst="rect">
            <a:avLst/>
          </a:prstGeom>
        </p:spPr>
      </p:pic>
      <p:sp>
        <p:nvSpPr>
          <p:cNvPr id="2" name="Suorakulmio 1">
            <a:extLst>
              <a:ext uri="{FF2B5EF4-FFF2-40B4-BE49-F238E27FC236}">
                <a16:creationId xmlns:a16="http://schemas.microsoft.com/office/drawing/2014/main" id="{FA753458-6CB1-4113-A6B1-14BC027DA9AD}"/>
              </a:ext>
            </a:extLst>
          </p:cNvPr>
          <p:cNvSpPr/>
          <p:nvPr/>
        </p:nvSpPr>
        <p:spPr>
          <a:xfrm>
            <a:off x="3875499" y="267494"/>
            <a:ext cx="4896544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The part of the economy that focuses on creating services and data-based products in a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ethic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manner.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  <a:p>
            <a:pPr algn="ctr" fontAlgn="auto">
              <a:spcAft>
                <a:spcPts val="0"/>
              </a:spcAft>
            </a:pPr>
            <a:r>
              <a:rPr lang="en-US" sz="1400" dirty="0">
                <a:latin typeface="Georgia"/>
              </a:rPr>
              <a:t>In the fair data economy data is shared between different parties with individuals' </a:t>
            </a:r>
            <a:r>
              <a:rPr lang="en-US" sz="1400" b="1" dirty="0">
                <a:latin typeface="Georgia"/>
              </a:rPr>
              <a:t>consent</a:t>
            </a:r>
            <a:r>
              <a:rPr lang="en-US" sz="1400" dirty="0">
                <a:latin typeface="Georgia"/>
              </a:rPr>
              <a:t> in a seamless and transparent way. </a:t>
            </a:r>
          </a:p>
          <a:p>
            <a:pPr algn="ctr" fontAlgn="auto">
              <a:spcAft>
                <a:spcPts val="0"/>
              </a:spcAft>
            </a:pPr>
            <a:endParaRPr lang="en-US" sz="1400" dirty="0">
              <a:latin typeface="Georgia"/>
            </a:endParaRPr>
          </a:p>
          <a:p>
            <a:pPr algn="ctr" fontAlgn="auto">
              <a:spcAft>
                <a:spcPts val="0"/>
              </a:spcAft>
            </a:pPr>
            <a:r>
              <a:rPr lang="en-US" sz="1400" dirty="0">
                <a:latin typeface="Georgia"/>
              </a:rPr>
              <a:t>People use services that improve their well-being and everyday life, companies achieve growth through innovation, and the well-being of society increases</a:t>
            </a:r>
          </a:p>
          <a:p>
            <a:pPr algn="ctr" fontAlgn="auto">
              <a:spcAft>
                <a:spcPts val="0"/>
              </a:spcAft>
            </a:pPr>
            <a:endParaRPr lang="en-US" sz="1400" dirty="0">
              <a:latin typeface="Georgia"/>
            </a:endParaRPr>
          </a:p>
          <a:p>
            <a:pPr algn="ctr" fontAlgn="auto">
              <a:spcAft>
                <a:spcPts val="0"/>
              </a:spcAft>
            </a:pPr>
            <a:r>
              <a:rPr lang="en-US" sz="1400" b="1" dirty="0">
                <a:latin typeface="Georgia"/>
              </a:rPr>
              <a:t>Vision</a:t>
            </a:r>
            <a:r>
              <a:rPr lang="en-US" sz="1400" dirty="0">
                <a:latin typeface="Georgia"/>
              </a:rPr>
              <a:t> is that Europe has a well-functioning data market, where companies that use data responsibly and open-mindedly succeed with smart services</a:t>
            </a:r>
            <a:endParaRPr lang="fi-FI" sz="1400" dirty="0">
              <a:latin typeface="Georgia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9640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.Ju2LoXKa2RbOraFXC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7JP.lam_NM1grrLkHb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.Ju2LoXKa2RbOraFXC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hz4.PZ4OHrEFNKaLO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.Ju2LoXKa2RbOraFXC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10.xml><?xml version="1.0" encoding="utf-8"?>
<a:theme xmlns:a="http://schemas.openxmlformats.org/drawingml/2006/main" name="9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presentation_16-9.potx" id="{AC8272FF-7BAC-44E3-9C15-02C756ECBA29}" vid="{E4B96180-61B3-42C7-8370-25DCC849BBAE}"/>
    </a:ext>
  </a:extLst>
</a:theme>
</file>

<file path=ppt/theme/theme11.xml><?xml version="1.0" encoding="utf-8"?>
<a:theme xmlns:a="http://schemas.openxmlformats.org/drawingml/2006/main" name="SITRA4">
  <a:themeElements>
    <a:clrScheme name="Custom 1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000000"/>
      </a:hlink>
      <a:folHlink>
        <a:srgbClr val="000000"/>
      </a:folHlink>
    </a:clrScheme>
    <a:fontScheme name="Georgia">
      <a:maj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TRA4" id="{492D8518-C657-6A4F-B0B3-B1765AA2E8E8}" vid="{2C9C988A-E57C-A047-9726-A9F88115856A}"/>
    </a:ext>
  </a:extLst>
</a:theme>
</file>

<file path=ppt/theme/theme12.xml><?xml version="1.0" encoding="utf-8"?>
<a:theme xmlns:a="http://schemas.openxmlformats.org/drawingml/2006/main" name="sisuid slide mast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6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1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Layoutpohjat">
  <a:themeElements>
    <a:clrScheme name="Sitra ACCESSIBL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FFDF00"/>
      </a:accent2>
      <a:accent3>
        <a:srgbClr val="74CFEB"/>
      </a:accent3>
      <a:accent4>
        <a:srgbClr val="3679B9"/>
      </a:accent4>
      <a:accent5>
        <a:srgbClr val="FF9F36"/>
      </a:accent5>
      <a:accent6>
        <a:srgbClr val="E8114B"/>
      </a:accent6>
      <a:hlink>
        <a:srgbClr val="3679B9"/>
      </a:hlink>
      <a:folHlink>
        <a:srgbClr val="3679B9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kalvopohja_ENG" id="{7967AEDB-77A3-4C2E-A897-B06F0F229380}" vid="{BC2E3630-7792-45CB-AA0F-182C593E00E5}"/>
    </a:ext>
  </a:extLst>
</a:theme>
</file>

<file path=ppt/theme/theme16.xml><?xml version="1.0" encoding="utf-8"?>
<a:theme xmlns:a="http://schemas.openxmlformats.org/drawingml/2006/main" name="4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17.xml><?xml version="1.0" encoding="utf-8"?>
<a:theme xmlns:a="http://schemas.openxmlformats.org/drawingml/2006/main" name="5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18.xml><?xml version="1.0" encoding="utf-8"?>
<a:theme xmlns:a="http://schemas.openxmlformats.org/drawingml/2006/main" name="8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19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8-11-08_Sitra_presentation.pptx" id="{4CDBE5AE-13D7-4D87-AD9F-72E4B0B27D90}" vid="{E87E1DFA-3FC5-4D84-AEEF-7FA3270C105D}"/>
    </a:ext>
  </a:extLst>
</a:theme>
</file>

<file path=ppt/theme/theme20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7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4.xml><?xml version="1.0" encoding="utf-8"?>
<a:theme xmlns:a="http://schemas.openxmlformats.org/drawingml/2006/main" name="16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EN.potx" id="{3BB03CFA-F812-4336-8784-2A4EFB057E00}" vid="{ABC521F4-BAEF-4F73-B167-87DA375EEB50}"/>
    </a:ext>
  </a:extLst>
</a:theme>
</file>

<file path=ppt/theme/theme5.xml><?xml version="1.0" encoding="utf-8"?>
<a:theme xmlns:a="http://schemas.openxmlformats.org/drawingml/2006/main" name="22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8-11-08_Sitra_presentation.pptx" id="{4CDBE5AE-13D7-4D87-AD9F-72E4B0B27D90}" vid="{E87E1DFA-3FC5-4D84-AEEF-7FA3270C105D}"/>
    </a:ext>
  </a:extLst>
</a:theme>
</file>

<file path=ppt/theme/theme6.xml><?xml version="1.0" encoding="utf-8"?>
<a:theme xmlns:a="http://schemas.openxmlformats.org/drawingml/2006/main" name="Ravi Powerpoint Template">
  <a:themeElements>
    <a:clrScheme name="Body Copy">
      <a:dk1>
        <a:srgbClr val="000000"/>
      </a:dk1>
      <a:lt1>
        <a:srgbClr val="FFFFFF"/>
      </a:lt1>
      <a:dk2>
        <a:srgbClr val="777777"/>
      </a:dk2>
      <a:lt2>
        <a:srgbClr val="333333"/>
      </a:lt2>
      <a:accent1>
        <a:srgbClr val="1E22AA"/>
      </a:accent1>
      <a:accent2>
        <a:srgbClr val="55C1E9"/>
      </a:accent2>
      <a:accent3>
        <a:srgbClr val="FF5959"/>
      </a:accent3>
      <a:accent4>
        <a:srgbClr val="3CD5AF"/>
      </a:accent4>
      <a:accent5>
        <a:srgbClr val="FFC72C"/>
      </a:accent5>
      <a:accent6>
        <a:srgbClr val="D064CE"/>
      </a:accent6>
      <a:hlink>
        <a:srgbClr val="5352F5"/>
      </a:hlink>
      <a:folHlink>
        <a:srgbClr val="BFBFB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HIMSS_Powerpoint" id="{02F49452-A24F-E947-B927-5A8A0C6DACE2}" vid="{22F9A577-ABF8-6944-901B-C9DA339A83D1}"/>
    </a:ext>
  </a:extLst>
</a:theme>
</file>

<file path=ppt/theme/theme7.xml><?xml version="1.0" encoding="utf-8"?>
<a:theme xmlns:a="http://schemas.openxmlformats.org/drawingml/2006/main" name="12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62A9DC3C-AE0B-4453-BF30-EE4EF56151E8}" vid="{39DABCFD-DC1D-4F05-8B22-DAAF63071A4B}"/>
    </a:ext>
  </a:extLst>
</a:theme>
</file>

<file path=ppt/theme/theme8.xml><?xml version="1.0" encoding="utf-8"?>
<a:theme xmlns:a="http://schemas.openxmlformats.org/drawingml/2006/main" name="1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FI.potx" id="{9B8F0C5F-9623-419D-957B-E19740B4DAF3}" vid="{C10C316A-84A4-46EB-994F-C245BECBB5A8}"/>
    </a:ext>
  </a:extLst>
</a:theme>
</file>

<file path=ppt/theme/theme9.xml><?xml version="1.0" encoding="utf-8"?>
<a:theme xmlns:a="http://schemas.openxmlformats.org/drawingml/2006/main" name="7_Layoutpohjat">
  <a:themeElements>
    <a:clrScheme name="Custom 39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4B8DCB"/>
      </a:accent1>
      <a:accent2>
        <a:srgbClr val="0DB14B"/>
      </a:accent2>
      <a:accent3>
        <a:srgbClr val="ED174F"/>
      </a:accent3>
      <a:accent4>
        <a:srgbClr val="FBD1DC"/>
      </a:accent4>
      <a:accent5>
        <a:srgbClr val="FDDD00"/>
      </a:accent5>
      <a:accent6>
        <a:srgbClr val="75CFEB"/>
      </a:accent6>
      <a:hlink>
        <a:srgbClr val="A6CE39"/>
      </a:hlink>
      <a:folHlink>
        <a:srgbClr val="FE8127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ajakuvakalvopohja_16-9_EN.potx" id="{3BB03CFA-F812-4336-8784-2A4EFB057E00}" vid="{ABC521F4-BAEF-4F73-B167-87DA375EEB5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C4F206BC92488A4898595F78737910F3" ma:contentTypeVersion="12" ma:contentTypeDescription="Luo uusi asiakirja." ma:contentTypeScope="" ma:versionID="f762f4ed4702c385e71417a86f974b87">
  <xsd:schema xmlns:xsd="http://www.w3.org/2001/XMLSchema" xmlns:xs="http://www.w3.org/2001/XMLSchema" xmlns:p="http://schemas.microsoft.com/office/2006/metadata/properties" xmlns:ns2="2b6eac93-3618-4ea1-b29e-b970fff4ac87" xmlns:ns3="92a3a1ec-c449-4d06-aeb6-6da83b459d19" targetNamespace="http://schemas.microsoft.com/office/2006/metadata/properties" ma:root="true" ma:fieldsID="091811be90ff39aaf3884c9239c4d597" ns2:_="" ns3:_="">
    <xsd:import namespace="2b6eac93-3618-4ea1-b29e-b970fff4ac87"/>
    <xsd:import namespace="92a3a1ec-c449-4d06-aeb6-6da83b459d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6eac93-3618-4ea1-b29e-b970fff4ac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a3a1ec-c449-4d06-aeb6-6da83b459d1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15A757-A9EB-4A19-A981-851A63D9DE18}">
  <ds:schemaRefs>
    <ds:schemaRef ds:uri="http://purl.org/dc/dcmitype/"/>
    <ds:schemaRef ds:uri="http://www.w3.org/XML/1998/namespace"/>
    <ds:schemaRef ds:uri="http://schemas.microsoft.com/office/2006/documentManagement/types"/>
    <ds:schemaRef ds:uri="http://purl.org/dc/elements/1.1/"/>
    <ds:schemaRef ds:uri="92a3a1ec-c449-4d06-aeb6-6da83b459d19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2b6eac93-3618-4ea1-b29e-b970fff4ac87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EB3144C-9457-4625-9632-B6440F5A4B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6eac93-3618-4ea1-b29e-b970fff4ac87"/>
    <ds:schemaRef ds:uri="92a3a1ec-c449-4d06-aeb6-6da83b459d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7A1E029-980F-443D-A1DA-537C532D59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</TotalTime>
  <Words>1252</Words>
  <Application>Microsoft Office PowerPoint</Application>
  <PresentationFormat>Näytössä katseltava esitys (16:9)</PresentationFormat>
  <Paragraphs>155</Paragraphs>
  <Slides>19</Slides>
  <Notes>8</Notes>
  <HiddenSlides>0</HiddenSlides>
  <MMClips>0</MMClips>
  <ScaleCrop>false</ScaleCrop>
  <HeadingPairs>
    <vt:vector size="8" baseType="variant">
      <vt:variant>
        <vt:lpstr>Käytetyt fontit</vt:lpstr>
      </vt:variant>
      <vt:variant>
        <vt:i4>13</vt:i4>
      </vt:variant>
      <vt:variant>
        <vt:lpstr>Teema</vt:lpstr>
      </vt:variant>
      <vt:variant>
        <vt:i4>18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9</vt:i4>
      </vt:variant>
    </vt:vector>
  </HeadingPairs>
  <TitlesOfParts>
    <vt:vector size="51" baseType="lpstr">
      <vt:lpstr>Arial</vt:lpstr>
      <vt:lpstr>Arial Black</vt:lpstr>
      <vt:lpstr>Calibri</vt:lpstr>
      <vt:lpstr>Calibri Light</vt:lpstr>
      <vt:lpstr>Century Gothic</vt:lpstr>
      <vt:lpstr>Georgia</vt:lpstr>
      <vt:lpstr>Lucida Grande</vt:lpstr>
      <vt:lpstr>Oswald Light</vt:lpstr>
      <vt:lpstr>Prometo Medium</vt:lpstr>
      <vt:lpstr>Rational Display Black</vt:lpstr>
      <vt:lpstr>Rational Display Medium</vt:lpstr>
      <vt:lpstr>Rational TW Display Book</vt:lpstr>
      <vt:lpstr>Rational TW Display SemiBold</vt:lpstr>
      <vt:lpstr>Layoutpohjat</vt:lpstr>
      <vt:lpstr>2_Layoutpohjat</vt:lpstr>
      <vt:lpstr>17_Layoutpohjat</vt:lpstr>
      <vt:lpstr>16_Layoutpohjat</vt:lpstr>
      <vt:lpstr>22_Layoutpohjat</vt:lpstr>
      <vt:lpstr>Ravi Powerpoint Template</vt:lpstr>
      <vt:lpstr>12_Layoutpohjat</vt:lpstr>
      <vt:lpstr>1_Layoutpohjat</vt:lpstr>
      <vt:lpstr>7_Layoutpohjat</vt:lpstr>
      <vt:lpstr>9_Layoutpohjat</vt:lpstr>
      <vt:lpstr>SITRA4</vt:lpstr>
      <vt:lpstr>sisuid slide master</vt:lpstr>
      <vt:lpstr>6_Layoutpohjat</vt:lpstr>
      <vt:lpstr>Custom Design</vt:lpstr>
      <vt:lpstr>3_Layoutpohjat</vt:lpstr>
      <vt:lpstr>4_Layoutpohjat</vt:lpstr>
      <vt:lpstr>5_Layoutpohjat</vt:lpstr>
      <vt:lpstr>8_Layoutpohjat</vt:lpstr>
      <vt:lpstr>think-cell Slide</vt:lpstr>
      <vt:lpstr>How can Circular Economy and Fair Data Economy help to rebuild your company post-Corona?</vt:lpstr>
      <vt:lpstr>PowerPoint-esitys</vt:lpstr>
      <vt:lpstr>PowerPoint-esitys</vt:lpstr>
      <vt:lpstr>background</vt:lpstr>
      <vt:lpstr>The EU as a role model for data-driven society?</vt:lpstr>
      <vt:lpstr>Twin transition to a green and digital economy? </vt:lpstr>
      <vt:lpstr>Interaction between digital and climate</vt:lpstr>
      <vt:lpstr>The promise of fair data economy</vt:lpstr>
      <vt:lpstr>PowerPoint-esitys</vt:lpstr>
      <vt:lpstr>UNDERSTANDING</vt:lpstr>
      <vt:lpstr>PowerPoint-esitys</vt:lpstr>
      <vt:lpstr>Data Sovereignty as Design Principle?</vt:lpstr>
      <vt:lpstr>”Gartner says”…</vt:lpstr>
      <vt:lpstr>PowerPoint-esitys</vt:lpstr>
      <vt:lpstr>PowerPoint-esitys</vt:lpstr>
      <vt:lpstr>PowerPoint-esitys</vt:lpstr>
      <vt:lpstr>PowerPoint-esitys</vt:lpstr>
      <vt:lpstr>The key distinguishing characteristics of a data-responsible company  </vt:lpstr>
      <vt:lpstr>Is there a potential for sustainable digital businesses build on data sharing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We need to talk about walled gardens</dc:title>
  <dc:creator>Jaana Sinipuro</dc:creator>
  <cp:lastModifiedBy>Jaana Sinipuro</cp:lastModifiedBy>
  <cp:revision>3</cp:revision>
  <dcterms:created xsi:type="dcterms:W3CDTF">2020-10-23T03:55:35Z</dcterms:created>
  <dcterms:modified xsi:type="dcterms:W3CDTF">2020-10-25T10:48:36Z</dcterms:modified>
</cp:coreProperties>
</file>